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tags/tag11.xml" ContentType="application/vnd.openxmlformats-officedocument.presentationml.tags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notesSlides/notesSlide9.xml" ContentType="application/vnd.openxmlformats-officedocument.presentationml.notesSlide+xml"/>
  <Override PartName="/ppt/tags/tag14.xml" ContentType="application/vnd.openxmlformats-officedocument.presentationml.tags+xml"/>
  <Override PartName="/ppt/notesSlides/notesSlide10.xml" ContentType="application/vnd.openxmlformats-officedocument.presentationml.notesSlide+xml"/>
  <Override PartName="/ppt/tags/tag15.xml" ContentType="application/vnd.openxmlformats-officedocument.presentationml.tags+xml"/>
  <Override PartName="/ppt/notesSlides/notesSlide11.xml" ContentType="application/vnd.openxmlformats-officedocument.presentationml.notesSlide+xml"/>
  <Override PartName="/ppt/tags/tag16.xml" ContentType="application/vnd.openxmlformats-officedocument.presentationml.tags+xml"/>
  <Override PartName="/ppt/notesSlides/notesSlide12.xml" ContentType="application/vnd.openxmlformats-officedocument.presentationml.notesSlide+xml"/>
  <Override PartName="/ppt/tags/tag17.xml" ContentType="application/vnd.openxmlformats-officedocument.presentationml.tags+xml"/>
  <Override PartName="/ppt/notesSlides/notesSlide13.xml" ContentType="application/vnd.openxmlformats-officedocument.presentationml.notesSlide+xml"/>
  <Override PartName="/ppt/tags/tag18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0"/>
  </p:notesMasterIdLst>
  <p:handoutMasterIdLst>
    <p:handoutMasterId r:id="rId41"/>
  </p:handoutMasterIdLst>
  <p:sldIdLst>
    <p:sldId id="325" r:id="rId2"/>
    <p:sldId id="754" r:id="rId3"/>
    <p:sldId id="801" r:id="rId4"/>
    <p:sldId id="802" r:id="rId5"/>
    <p:sldId id="803" r:id="rId6"/>
    <p:sldId id="804" r:id="rId7"/>
    <p:sldId id="805" r:id="rId8"/>
    <p:sldId id="806" r:id="rId9"/>
    <p:sldId id="807" r:id="rId10"/>
    <p:sldId id="808" r:id="rId11"/>
    <p:sldId id="809" r:id="rId12"/>
    <p:sldId id="810" r:id="rId13"/>
    <p:sldId id="811" r:id="rId14"/>
    <p:sldId id="812" r:id="rId15"/>
    <p:sldId id="813" r:id="rId16"/>
    <p:sldId id="814" r:id="rId17"/>
    <p:sldId id="815" r:id="rId18"/>
    <p:sldId id="816" r:id="rId19"/>
    <p:sldId id="817" r:id="rId20"/>
    <p:sldId id="819" r:id="rId21"/>
    <p:sldId id="818" r:id="rId22"/>
    <p:sldId id="820" r:id="rId23"/>
    <p:sldId id="821" r:id="rId24"/>
    <p:sldId id="822" r:id="rId25"/>
    <p:sldId id="823" r:id="rId26"/>
    <p:sldId id="774" r:id="rId27"/>
    <p:sldId id="779" r:id="rId28"/>
    <p:sldId id="780" r:id="rId29"/>
    <p:sldId id="824" r:id="rId30"/>
    <p:sldId id="825" r:id="rId31"/>
    <p:sldId id="826" r:id="rId32"/>
    <p:sldId id="827" r:id="rId33"/>
    <p:sldId id="828" r:id="rId34"/>
    <p:sldId id="829" r:id="rId35"/>
    <p:sldId id="830" r:id="rId36"/>
    <p:sldId id="831" r:id="rId37"/>
    <p:sldId id="832" r:id="rId38"/>
    <p:sldId id="833" r:id="rId39"/>
  </p:sldIdLst>
  <p:sldSz cx="12192000" cy="6858000"/>
  <p:notesSz cx="6805613" cy="9944100"/>
  <p:custDataLst>
    <p:tags r:id="rId42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890" userDrawn="1">
          <p15:clr>
            <a:srgbClr val="A4A3A4"/>
          </p15:clr>
        </p15:guide>
        <p15:guide id="3" pos="347" userDrawn="1">
          <p15:clr>
            <a:srgbClr val="A4A3A4"/>
          </p15:clr>
        </p15:guide>
        <p15:guide id="5" pos="7650" userDrawn="1">
          <p15:clr>
            <a:srgbClr val="A4A3A4"/>
          </p15:clr>
        </p15:guide>
        <p15:guide id="6" orient="horz" pos="1200" userDrawn="1">
          <p15:clr>
            <a:srgbClr val="A4A3A4"/>
          </p15:clr>
        </p15:guide>
        <p15:guide id="7" pos="6924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64214"/>
    <a:srgbClr val="EAB200"/>
    <a:srgbClr val="ED7D31"/>
    <a:srgbClr val="2F5597"/>
    <a:srgbClr val="FFD966"/>
    <a:srgbClr val="00B0F0"/>
    <a:srgbClr val="FF99CC"/>
    <a:srgbClr val="00B050"/>
    <a:srgbClr val="B1BDF1"/>
    <a:srgbClr val="95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296" autoAdjust="0"/>
  </p:normalViewPr>
  <p:slideViewPr>
    <p:cSldViewPr snapToGrid="0">
      <p:cViewPr>
        <p:scale>
          <a:sx n="81" d="100"/>
          <a:sy n="81" d="100"/>
        </p:scale>
        <p:origin x="-288" y="-72"/>
      </p:cViewPr>
      <p:guideLst>
        <p:guide orient="horz" pos="890"/>
        <p:guide orient="horz" pos="1200"/>
        <p:guide pos="347"/>
        <p:guide pos="7650"/>
        <p:guide pos="692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-3384"/>
    </p:cViewPr>
  </p:sorterViewPr>
  <p:notesViewPr>
    <p:cSldViewPr snapToGrid="0">
      <p:cViewPr>
        <p:scale>
          <a:sx n="130" d="100"/>
          <a:sy n="130" d="100"/>
        </p:scale>
        <p:origin x="192" y="-48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gs" Target="tags/tag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notesMaster" Target="notesMasters/notesMaster1.xml"/><Relationship Id="rId45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ru-RU" smtClean="0"/>
              <a:t>1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445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19A5FDA-3ABD-4F5A-A8E1-3EACD844AA0E}" type="datetime1">
              <a:rPr lang="ru-RU" smtClean="0"/>
              <a:t>13.01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5625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4450" y="9445625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B21B72-D5D6-4B25-81DB-AB85CA740B6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5868871"/>
      </p:ext>
    </p:extLst>
  </p:cSld>
  <p:clrMap bg1="lt1" tx1="dk1" bg2="lt2" tx2="dk2" accent1="accent1" accent2="accent2" accent3="accent3" accent4="accent4" accent5="accent5" accent6="accent6" hlink="hlink" folHlink="folHlink"/>
  <p:hf sldNum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40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EAABCD87-94AF-4B5B-BAF1-F5284FE899C7}" type="datetime1">
              <a:rPr lang="ru-RU" smtClean="0"/>
              <a:t>13.01.2022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3" y="4785598"/>
            <a:ext cx="5444490" cy="3915489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40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9447256E-483B-4BC1-BFF8-D2418426C52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23270089"/>
      </p:ext>
    </p:extLst>
  </p:cSld>
  <p:clrMap bg1="lt1" tx1="dk1" bg2="lt2" tx2="dk2" accent1="accent1" accent2="accent2" accent3="accent3" accent4="accent4" accent5="accent5" accent6="accent6" hlink="hlink" folHlink="folHlink"/>
  <p:hf sldNum="0"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F834F1D5-33B3-480A-A4E8-311841A67364}" type="datetime1">
              <a:rPr lang="ru-RU" smtClean="0"/>
              <a:t>13.01.20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5788843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я серии «Функциональная грамотность. Тренажёр» помогают формировать умение осознанно использовать полученные в ходе обучения знания для решения жизненных задач, развивают активность и самостоятельность учащихся, вовлекают их в поисковую и познавательную деятельность. </a:t>
            </a:r>
          </a:p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пособиях содержатся разнообразные практико-ориентированные задания, поиск решения которых позволит школьникам подготовиться к участию в международных исследованиях качества образования, приведены примеры их решений и ответы. </a:t>
            </a:r>
          </a:p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я серии могут использоваться учителями математики, русского языка, обществознания, биологии, физики и химии на уроках и во внеурочной деятельности, а также родителями и школьниками.</a:t>
            </a:r>
          </a:p>
          <a:p>
            <a:endParaRPr lang="ru-RU" sz="100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indent="288000"/>
            <a:r>
              <a:rPr lang="ru-RU" sz="10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Более подробно о пособиях: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Учебное пособие «Математика на каждый день» предназначено для учащихся 6‒8 классов. Задачи, включённые в сборник, направлены на совершенствование навыков применения полученных учащимися теоретических знаний по математике в жизненных ситуациях. 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анное пособие поможет учителям понять систему построения задач международных исследований, в частности ― на проверку математической грамотности школьников. А это способность рассуждать логически и убедительно формулировать проблемы реального мира на языке математики, применять математические знания для решения проблемы и интерпретировать получившийся математический результат с переходом на контекст задачи. 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е также поможет учителю в создании условий для поиска оригинальных решений поставленных задач, а ученику ― решать важные жизненные проблемы.</a:t>
            </a:r>
          </a:p>
          <a:p>
            <a:endParaRPr lang="ru-RU" sz="1000" i="0" dirty="0"/>
          </a:p>
          <a:p>
            <a:pPr indent="287970"/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FA26F88D-531B-44D5-84D5-D31C9CB7BDC4}" type="datetime1">
              <a:rPr lang="ru-RU" smtClean="0"/>
              <a:t>13.01.20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2908970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я серии «Функциональная грамотность. Тренажёр» помогают формировать умение осознанно использовать полученные в ходе обучения знания для решения жизненных задач, развивают активность и самостоятельность учащихся, вовлекают их в поисковую и познавательную деятельность. </a:t>
            </a:r>
          </a:p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пособиях содержатся разнообразные практико-ориентированные задания, поиск решения которых позволит школьникам подготовиться к участию в международных исследованиях качества образования, приведены примеры их решений и ответы. </a:t>
            </a:r>
          </a:p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я серии могут использоваться учителями математики, русского языка, обществознания, биологии, физики и химии на уроках и во внеурочной деятельности, а также родителями и школьниками.</a:t>
            </a:r>
          </a:p>
          <a:p>
            <a:endParaRPr lang="ru-RU" sz="100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indent="288000"/>
            <a:r>
              <a:rPr lang="ru-RU" sz="10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Более подробно о пособиях: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Учебное пособие «Математика на каждый день» предназначено для учащихся 6‒8 классов. Задачи, включённые в сборник, направлены на совершенствование навыков применения полученных учащимися теоретических знаний по математике в жизненных ситуациях. 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анное пособие поможет учителям понять систему построения задач международных исследований, в частности ― на проверку математической грамотности школьников. А это способность рассуждать логически и убедительно формулировать проблемы реального мира на языке математики, применять математические знания для решения проблемы и интерпретировать получившийся математический результат с переходом на контекст задачи. 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е также поможет учителю в создании условий для поиска оригинальных решений поставленных задач, а ученику ― решать важные жизненные проблемы.</a:t>
            </a:r>
          </a:p>
          <a:p>
            <a:endParaRPr lang="ru-RU" sz="1000" i="0" dirty="0"/>
          </a:p>
          <a:p>
            <a:pPr indent="287970"/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FA26F88D-531B-44D5-84D5-D31C9CB7BDC4}" type="datetime1">
              <a:rPr lang="ru-RU" smtClean="0"/>
              <a:t>13.01.20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2908970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я серии «Функциональная грамотность. Тренажёр» помогают формировать умение осознанно использовать полученные в ходе обучения знания для решения жизненных задач, развивают активность и самостоятельность учащихся, вовлекают их в поисковую и познавательную деятельность. </a:t>
            </a:r>
          </a:p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пособиях содержатся разнообразные практико-ориентированные задания, поиск решения которых позволит школьникам подготовиться к участию в международных исследованиях качества образования, приведены примеры их решений и ответы. </a:t>
            </a:r>
          </a:p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я серии могут использоваться учителями математики, русского языка, обществознания, биологии, физики и химии на уроках и во внеурочной деятельности, а также родителями и школьниками.</a:t>
            </a:r>
          </a:p>
          <a:p>
            <a:endParaRPr lang="ru-RU" sz="100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indent="288000"/>
            <a:r>
              <a:rPr lang="ru-RU" sz="10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Более подробно о пособиях: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Учебное пособие «Математика на каждый день» предназначено для учащихся 6‒8 классов. Задачи, включённые в сборник, направлены на совершенствование навыков применения полученных учащимися теоретических знаний по математике в жизненных ситуациях. 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анное пособие поможет учителям понять систему построения задач международных исследований, в частности ― на проверку математической грамотности школьников. А это способность рассуждать логически и убедительно формулировать проблемы реального мира на языке математики, применять математические знания для решения проблемы и интерпретировать получившийся математический результат с переходом на контекст задачи. 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е также поможет учителю в создании условий для поиска оригинальных решений поставленных задач, а ученику ― решать важные жизненные проблемы.</a:t>
            </a:r>
          </a:p>
          <a:p>
            <a:endParaRPr lang="ru-RU" sz="1000" i="0" dirty="0"/>
          </a:p>
          <a:p>
            <a:pPr indent="287970"/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FA26F88D-531B-44D5-84D5-D31C9CB7BDC4}" type="datetime1">
              <a:rPr lang="ru-RU" smtClean="0"/>
              <a:t>13.01.20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2908970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я серии «Функциональная грамотность. Тренажёр» помогают формировать умение осознанно использовать полученные в ходе обучения знания для решения жизненных задач, развивают активность и самостоятельность учащихся, вовлекают их в поисковую и познавательную деятельность. </a:t>
            </a:r>
          </a:p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пособиях содержатся разнообразные практико-ориентированные задания, поиск решения которых позволит школьникам подготовиться к участию в международных исследованиях качества образования, приведены примеры их решений и ответы. </a:t>
            </a:r>
          </a:p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я серии могут использоваться учителями математики, русского языка, обществознания, биологии, физики и химии на уроках и во внеурочной деятельности, а также родителями и школьниками.</a:t>
            </a:r>
          </a:p>
          <a:p>
            <a:endParaRPr lang="ru-RU" sz="100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indent="288000"/>
            <a:r>
              <a:rPr lang="ru-RU" sz="10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Более подробно о пособиях: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Учебное пособие «Математика на каждый день» предназначено для учащихся 6‒8 классов. Задачи, включённые в сборник, направлены на совершенствование навыков применения полученных учащимися теоретических знаний по математике в жизненных ситуациях. 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анное пособие поможет учителям понять систему построения задач международных исследований, в частности ― на проверку математической грамотности школьников. А это способность рассуждать логически и убедительно формулировать проблемы реального мира на языке математики, применять математические знания для решения проблемы и интерпретировать получившийся математический результат с переходом на контекст задачи. 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е также поможет учителю в создании условий для поиска оригинальных решений поставленных задач, а ученику ― решать важные жизненные проблемы.</a:t>
            </a:r>
          </a:p>
          <a:p>
            <a:endParaRPr lang="ru-RU" sz="1000" i="0" dirty="0"/>
          </a:p>
          <a:p>
            <a:pPr indent="287970"/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FA26F88D-531B-44D5-84D5-D31C9CB7BDC4}" type="datetime1">
              <a:rPr lang="ru-RU" smtClean="0"/>
              <a:t>13.01.20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2908970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я серии «Функциональная грамотность. Тренажёр» помогают формировать умение осознанно использовать полученные в ходе обучения знания для решения жизненных задач, развивают активность и самостоятельность учащихся, вовлекают их в поисковую и познавательную деятельность. </a:t>
            </a:r>
          </a:p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пособиях содержатся разнообразные практико-ориентированные задания, поиск решения которых позволит школьникам подготовиться к участию в международных исследованиях качества образования, приведены примеры их решений и ответы. </a:t>
            </a:r>
          </a:p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я серии могут использоваться учителями математики, русского языка, обществознания, биологии, физики и химии на уроках и во внеурочной деятельности, а также родителями и школьниками.</a:t>
            </a:r>
          </a:p>
          <a:p>
            <a:endParaRPr lang="ru-RU" sz="100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indent="288000"/>
            <a:r>
              <a:rPr lang="ru-RU" sz="10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Более подробно о пособиях: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Учебное пособие «Математика на каждый день» предназначено для учащихся 6‒8 классов. Задачи, включённые в сборник, направлены на совершенствование навыков применения полученных учащимися теоретических знаний по математике в жизненных ситуациях. 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анное пособие поможет учителям понять систему построения задач международных исследований, в частности ― на проверку математической грамотности школьников. А это способность рассуждать логически и убедительно формулировать проблемы реального мира на языке математики, применять математические знания для решения проблемы и интерпретировать получившийся математический результат с переходом на контекст задачи. 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е также поможет учителю в создании условий для поиска оригинальных решений поставленных задач, а ученику ― решать важные жизненные проблемы.</a:t>
            </a:r>
          </a:p>
          <a:p>
            <a:endParaRPr lang="ru-RU" sz="1000" i="0" dirty="0"/>
          </a:p>
          <a:p>
            <a:pPr indent="287970"/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FA26F88D-531B-44D5-84D5-D31C9CB7BDC4}" type="datetime1">
              <a:rPr lang="ru-RU" smtClean="0"/>
              <a:t>13.01.20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290897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я серии «Функциональная грамотность. Тренажёр» помогают формировать умение осознанно использовать полученные в ходе обучения знания для решения жизненных задач, развивают активность и самостоятельность учащихся, вовлекают их в поисковую и познавательную деятельность. </a:t>
            </a:r>
          </a:p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пособиях содержатся разнообразные практико-ориентированные задания, поиск решения которых позволит школьникам подготовиться к участию в международных исследованиях качества образования, приведены примеры их решений и ответы. </a:t>
            </a:r>
          </a:p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я серии могут использоваться учителями математики, русского языка, обществознания, биологии, физики и химии на уроках и во внеурочной деятельности, а также родителями и школьниками.</a:t>
            </a:r>
          </a:p>
          <a:p>
            <a:endParaRPr lang="ru-RU" sz="100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indent="288000"/>
            <a:r>
              <a:rPr lang="ru-RU" sz="10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Более подробно о пособиях: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Учебное пособие «Математика на каждый день» предназначено для учащихся 6‒8 классов. Задачи, включённые в сборник, направлены на совершенствование навыков применения полученных учащимися теоретических знаний по математике в жизненных ситуациях. 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анное пособие поможет учителям понять систему построения задач международных исследований, в частности ― на проверку математической грамотности школьников. А это способность рассуждать логически и убедительно формулировать проблемы реального мира на языке математики, применять математические знания для решения проблемы и интерпретировать получившийся математический результат с переходом на контекст задачи. 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е также поможет учителю в создании условий для поиска оригинальных решений поставленных задач, а ученику ― решать важные жизненные проблемы.</a:t>
            </a:r>
          </a:p>
          <a:p>
            <a:endParaRPr lang="ru-RU" sz="1000" i="0" dirty="0"/>
          </a:p>
          <a:p>
            <a:pPr indent="287970"/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FA26F88D-531B-44D5-84D5-D31C9CB7BDC4}" type="datetime1">
              <a:rPr lang="ru-RU" smtClean="0"/>
              <a:t>13.01.20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290897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я серии «Функциональная грамотность. Тренажёр» помогают формировать умение осознанно использовать полученные в ходе обучения знания для решения жизненных задач, развивают активность и самостоятельность учащихся, вовлекают их в поисковую и познавательную деятельность. </a:t>
            </a:r>
          </a:p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пособиях содержатся разнообразные практико-ориентированные задания, поиск решения которых позволит школьникам подготовиться к участию в международных исследованиях качества образования, приведены примеры их решений и ответы. </a:t>
            </a:r>
          </a:p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я серии могут использоваться учителями математики, русского языка, обществознания, биологии, физики и химии на уроках и во внеурочной деятельности, а также родителями и школьниками.</a:t>
            </a:r>
          </a:p>
          <a:p>
            <a:endParaRPr lang="ru-RU" sz="100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indent="288000"/>
            <a:r>
              <a:rPr lang="ru-RU" sz="10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Более подробно о пособиях: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Учебное пособие «Математика на каждый день» предназначено для учащихся 6‒8 классов. Задачи, включённые в сборник, направлены на совершенствование навыков применения полученных учащимися теоретических знаний по математике в жизненных ситуациях. 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анное пособие поможет учителям понять систему построения задач международных исследований, в частности ― на проверку математической грамотности школьников. А это способность рассуждать логически и убедительно формулировать проблемы реального мира на языке математики, применять математические знания для решения проблемы и интерпретировать получившийся математический результат с переходом на контекст задачи. 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е также поможет учителю в создании условий для поиска оригинальных решений поставленных задач, а ученику ― решать важные жизненные проблемы.</a:t>
            </a:r>
          </a:p>
          <a:p>
            <a:endParaRPr lang="ru-RU" sz="1000" i="0" dirty="0"/>
          </a:p>
          <a:p>
            <a:pPr indent="287970"/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FA26F88D-531B-44D5-84D5-D31C9CB7BDC4}" type="datetime1">
              <a:rPr lang="ru-RU" smtClean="0"/>
              <a:t>13.01.20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290897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я серии «Функциональная грамотность. Тренажёр» помогают формировать умение осознанно использовать полученные в ходе обучения знания для решения жизненных задач, развивают активность и самостоятельность учащихся, вовлекают их в поисковую и познавательную деятельность. </a:t>
            </a:r>
          </a:p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пособиях содержатся разнообразные практико-ориентированные задания, поиск решения которых позволит школьникам подготовиться к участию в международных исследованиях качества образования, приведены примеры их решений и ответы. </a:t>
            </a:r>
          </a:p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я серии могут использоваться учителями математики, русского языка, обществознания, биологии, физики и химии на уроках и во внеурочной деятельности, а также родителями и школьниками.</a:t>
            </a:r>
          </a:p>
          <a:p>
            <a:endParaRPr lang="ru-RU" sz="100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indent="288000"/>
            <a:r>
              <a:rPr lang="ru-RU" sz="10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Более подробно о пособиях: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Учебное пособие «Математика на каждый день» предназначено для учащихся 6‒8 классов. Задачи, включённые в сборник, направлены на совершенствование навыков применения полученных учащимися теоретических знаний по математике в жизненных ситуациях. 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анное пособие поможет учителям понять систему построения задач международных исследований, в частности ― на проверку математической грамотности школьников. А это способность рассуждать логически и убедительно формулировать проблемы реального мира на языке математики, применять математические знания для решения проблемы и интерпретировать получившийся математический результат с переходом на контекст задачи. 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е также поможет учителю в создании условий для поиска оригинальных решений поставленных задач, а ученику ― решать важные жизненные проблемы.</a:t>
            </a:r>
          </a:p>
          <a:p>
            <a:endParaRPr lang="ru-RU" sz="1000" i="0" dirty="0"/>
          </a:p>
          <a:p>
            <a:pPr indent="287970"/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FA26F88D-531B-44D5-84D5-D31C9CB7BDC4}" type="datetime1">
              <a:rPr lang="ru-RU" smtClean="0"/>
              <a:t>13.01.20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290897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я серии «Функциональная грамотность. Тренажёр» помогают формировать умение осознанно использовать полученные в ходе обучения знания для решения жизненных задач, развивают активность и самостоятельность учащихся, вовлекают их в поисковую и познавательную деятельность. </a:t>
            </a:r>
          </a:p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пособиях содержатся разнообразные практико-ориентированные задания, поиск решения которых позволит школьникам подготовиться к участию в международных исследованиях качества образования, приведены примеры их решений и ответы. </a:t>
            </a:r>
          </a:p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я серии могут использоваться учителями математики, русского языка, обществознания, биологии, физики и химии на уроках и во внеурочной деятельности, а также родителями и школьниками.</a:t>
            </a:r>
          </a:p>
          <a:p>
            <a:endParaRPr lang="ru-RU" sz="100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indent="288000"/>
            <a:r>
              <a:rPr lang="ru-RU" sz="10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Более подробно о пособиях: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Учебное пособие «Математика на каждый день» предназначено для учащихся 6‒8 классов. Задачи, включённые в сборник, направлены на совершенствование навыков применения полученных учащимися теоретических знаний по математике в жизненных ситуациях. 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анное пособие поможет учителям понять систему построения задач международных исследований, в частности ― на проверку математической грамотности школьников. А это способность рассуждать логически и убедительно формулировать проблемы реального мира на языке математики, применять математические знания для решения проблемы и интерпретировать получившийся математический результат с переходом на контекст задачи. 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е также поможет учителю в создании условий для поиска оригинальных решений поставленных задач, а ученику ― решать важные жизненные проблемы.</a:t>
            </a:r>
          </a:p>
          <a:p>
            <a:endParaRPr lang="ru-RU" sz="1000" i="0" dirty="0"/>
          </a:p>
          <a:p>
            <a:pPr indent="287970"/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FA26F88D-531B-44D5-84D5-D31C9CB7BDC4}" type="datetime1">
              <a:rPr lang="ru-RU" smtClean="0"/>
              <a:t>13.01.20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290897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я серии «Функциональная грамотность. Тренажёр» помогают формировать умение осознанно использовать полученные в ходе обучения знания для решения жизненных задач, развивают активность и самостоятельность учащихся, вовлекают их в поисковую и познавательную деятельность. </a:t>
            </a:r>
          </a:p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пособиях содержатся разнообразные практико-ориентированные задания, поиск решения которых позволит школьникам подготовиться к участию в международных исследованиях качества образования, приведены примеры их решений и ответы. </a:t>
            </a:r>
          </a:p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я серии могут использоваться учителями математики, русского языка, обществознания, биологии, физики и химии на уроках и во внеурочной деятельности, а также родителями и школьниками.</a:t>
            </a:r>
          </a:p>
          <a:p>
            <a:endParaRPr lang="ru-RU" sz="100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indent="288000"/>
            <a:r>
              <a:rPr lang="ru-RU" sz="10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Более подробно о пособиях: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Учебное пособие «Математика на каждый день» предназначено для учащихся 6‒8 классов. Задачи, включённые в сборник, направлены на совершенствование навыков применения полученных учащимися теоретических знаний по математике в жизненных ситуациях. 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анное пособие поможет учителям понять систему построения задач международных исследований, в частности ― на проверку математической грамотности школьников. А это способность рассуждать логически и убедительно формулировать проблемы реального мира на языке математики, применять математические знания для решения проблемы и интерпретировать получившийся математический результат с переходом на контекст задачи. 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е также поможет учителю в создании условий для поиска оригинальных решений поставленных задач, а ученику ― решать важные жизненные проблемы.</a:t>
            </a:r>
          </a:p>
          <a:p>
            <a:endParaRPr lang="ru-RU" sz="1000" i="0" dirty="0"/>
          </a:p>
          <a:p>
            <a:pPr indent="287970"/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FA26F88D-531B-44D5-84D5-D31C9CB7BDC4}" type="datetime1">
              <a:rPr lang="ru-RU" smtClean="0"/>
              <a:t>13.01.20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290897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я серии «Функциональная грамотность. Тренажёр» помогают формировать умение осознанно использовать полученные в ходе обучения знания для решения жизненных задач, развивают активность и самостоятельность учащихся, вовлекают их в поисковую и познавательную деятельность. </a:t>
            </a:r>
          </a:p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пособиях содержатся разнообразные практико-ориентированные задания, поиск решения которых позволит школьникам подготовиться к участию в международных исследованиях качества образования, приведены примеры их решений и ответы. </a:t>
            </a:r>
          </a:p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я серии могут использоваться учителями математики, русского языка, обществознания, биологии, физики и химии на уроках и во внеурочной деятельности, а также родителями и школьниками.</a:t>
            </a:r>
          </a:p>
          <a:p>
            <a:endParaRPr lang="ru-RU" sz="100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indent="288000"/>
            <a:r>
              <a:rPr lang="ru-RU" sz="10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Более подробно о пособиях: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Учебное пособие «Математика на каждый день» предназначено для учащихся 6‒8 классов. Задачи, включённые в сборник, направлены на совершенствование навыков применения полученных учащимися теоретических знаний по математике в жизненных ситуациях. 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анное пособие поможет учителям понять систему построения задач международных исследований, в частности ― на проверку математической грамотности школьников. А это способность рассуждать логически и убедительно формулировать проблемы реального мира на языке математики, применять математические знания для решения проблемы и интерпретировать получившийся математический результат с переходом на контекст задачи. 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е также поможет учителю в создании условий для поиска оригинальных решений поставленных задач, а ученику ― решать важные жизненные проблемы.</a:t>
            </a:r>
          </a:p>
          <a:p>
            <a:endParaRPr lang="ru-RU" sz="1000" i="0" dirty="0"/>
          </a:p>
          <a:p>
            <a:pPr indent="287970"/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FA26F88D-531B-44D5-84D5-D31C9CB7BDC4}" type="datetime1">
              <a:rPr lang="ru-RU" smtClean="0"/>
              <a:t>13.01.20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290897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я серии «Функциональная грамотность. Тренажёр» помогают формировать умение осознанно использовать полученные в ходе обучения знания для решения жизненных задач, развивают активность и самостоятельность учащихся, вовлекают их в поисковую и познавательную деятельность. </a:t>
            </a:r>
          </a:p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пособиях содержатся разнообразные практико-ориентированные задания, поиск решения которых позволит школьникам подготовиться к участию в международных исследованиях качества образования, приведены примеры их решений и ответы. </a:t>
            </a:r>
          </a:p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я серии могут использоваться учителями математики, русского языка, обществознания, биологии, физики и химии на уроках и во внеурочной деятельности, а также родителями и школьниками.</a:t>
            </a:r>
          </a:p>
          <a:p>
            <a:endParaRPr lang="ru-RU" sz="100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indent="288000"/>
            <a:r>
              <a:rPr lang="ru-RU" sz="10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Более подробно о пособиях: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Учебное пособие «Математика на каждый день» предназначено для учащихся 6‒8 классов. Задачи, включённые в сборник, направлены на совершенствование навыков применения полученных учащимися теоретических знаний по математике в жизненных ситуациях. 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анное пособие поможет учителям понять систему построения задач международных исследований, в частности ― на проверку математической грамотности школьников. А это способность рассуждать логически и убедительно формулировать проблемы реального мира на языке математики, применять математические знания для решения проблемы и интерпретировать получившийся математический результат с переходом на контекст задачи. 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е также поможет учителю в создании условий для поиска оригинальных решений поставленных задач, а ученику ― решать важные жизненные проблемы.</a:t>
            </a:r>
          </a:p>
          <a:p>
            <a:endParaRPr lang="ru-RU" sz="1000" i="0" dirty="0"/>
          </a:p>
          <a:p>
            <a:pPr indent="287970"/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FA26F88D-531B-44D5-84D5-D31C9CB7BDC4}" type="datetime1">
              <a:rPr lang="ru-RU" smtClean="0"/>
              <a:t>13.01.20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290897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я серии «Функциональная грамотность. Тренажёр» помогают формировать умение осознанно использовать полученные в ходе обучения знания для решения жизненных задач, развивают активность и самостоятельность учащихся, вовлекают их в поисковую и познавательную деятельность. </a:t>
            </a:r>
          </a:p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пособиях содержатся разнообразные практико-ориентированные задания, поиск решения которых позволит школьникам подготовиться к участию в международных исследованиях качества образования, приведены примеры их решений и ответы. </a:t>
            </a:r>
          </a:p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я серии могут использоваться учителями математики, русского языка, обществознания, биологии, физики и химии на уроках и во внеурочной деятельности, а также родителями и школьниками.</a:t>
            </a:r>
          </a:p>
          <a:p>
            <a:endParaRPr lang="ru-RU" sz="100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indent="288000"/>
            <a:r>
              <a:rPr lang="ru-RU" sz="10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Более подробно о пособиях: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Учебное пособие «Математика на каждый день» предназначено для учащихся 6‒8 классов. Задачи, включённые в сборник, направлены на совершенствование навыков применения полученных учащимися теоретических знаний по математике в жизненных ситуациях. 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анное пособие поможет учителям понять систему построения задач международных исследований, в частности ― на проверку математической грамотности школьников. А это способность рассуждать логически и убедительно формулировать проблемы реального мира на языке математики, применять математические знания для решения проблемы и интерпретировать получившийся математический результат с переходом на контекст задачи. 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е также поможет учителю в создании условий для поиска оригинальных решений поставленных задач, а ученику ― решать важные жизненные проблемы.</a:t>
            </a:r>
          </a:p>
          <a:p>
            <a:endParaRPr lang="ru-RU" sz="1000" i="0" dirty="0"/>
          </a:p>
          <a:p>
            <a:pPr indent="287970"/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FA26F88D-531B-44D5-84D5-D31C9CB7BDC4}" type="datetime1">
              <a:rPr lang="ru-RU" smtClean="0"/>
              <a:t>13.01.20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290897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68353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688571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49178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775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56181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48370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70082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849566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117364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887308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48858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=""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40683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7" name="Слайд think-cell" r:id="rId16" imgW="359" imgH="360" progId="TCLayout.ActiveDocument.1">
                  <p:embed/>
                </p:oleObj>
              </mc:Choice>
              <mc:Fallback>
                <p:oleObj name="Слайд think-cell" r:id="rId16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=""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0636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.xml"/><Relationship Id="rId7" Type="http://schemas.openxmlformats.org/officeDocument/2006/relationships/oleObject" Target="../embeddings/oleObject2.bin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5" Type="http://schemas.microsoft.com/office/2007/relationships/hdphoto" Target="../media/hdphoto3.wdp"/><Relationship Id="rId4" Type="http://schemas.openxmlformats.org/officeDocument/2006/relationships/image" Target="../media/image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png"/><Relationship Id="rId5" Type="http://schemas.microsoft.com/office/2007/relationships/hdphoto" Target="../media/hdphoto3.wdp"/><Relationship Id="rId4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5" Type="http://schemas.microsoft.com/office/2007/relationships/hdphoto" Target="../media/hdphoto4.wdp"/><Relationship Id="rId4" Type="http://schemas.openxmlformats.org/officeDocument/2006/relationships/image" Target="../media/image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microsoft.com/office/2007/relationships/hdphoto" Target="../media/hdphoto4.wdp"/><Relationship Id="rId4" Type="http://schemas.openxmlformats.org/officeDocument/2006/relationships/image" Target="../media/image9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42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1.png"/><Relationship Id="rId12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openxmlformats.org/officeDocument/2006/relationships/image" Target="../media/image15.gi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4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3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13" Type="http://schemas.openxmlformats.org/officeDocument/2006/relationships/image" Target="../media/image21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12" Type="http://schemas.openxmlformats.org/officeDocument/2006/relationships/image" Target="../media/image20.jpeg"/><Relationship Id="rId2" Type="http://schemas.openxmlformats.org/officeDocument/2006/relationships/tags" Target="../tags/tag7.xml"/><Relationship Id="rId16" Type="http://schemas.openxmlformats.org/officeDocument/2006/relationships/image" Target="../media/image24.gif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11" Type="http://schemas.openxmlformats.org/officeDocument/2006/relationships/image" Target="../media/image19.jpeg"/><Relationship Id="rId5" Type="http://schemas.openxmlformats.org/officeDocument/2006/relationships/oleObject" Target="../embeddings/oleObject4.bin"/><Relationship Id="rId15" Type="http://schemas.openxmlformats.org/officeDocument/2006/relationships/image" Target="../media/image23.jpeg"/><Relationship Id="rId10" Type="http://schemas.openxmlformats.org/officeDocument/2006/relationships/image" Target="../media/image18.jpe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7.jpeg"/><Relationship Id="rId14" Type="http://schemas.openxmlformats.org/officeDocument/2006/relationships/image" Target="../media/image22.jpe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gif"/><Relationship Id="rId13" Type="http://schemas.openxmlformats.org/officeDocument/2006/relationships/image" Target="../media/image30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12" Type="http://schemas.openxmlformats.org/officeDocument/2006/relationships/image" Target="../media/image29.jpe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openxmlformats.org/officeDocument/2006/relationships/image" Target="../media/image28.jpe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27.jpe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26.jpe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10" Type="http://schemas.openxmlformats.org/officeDocument/2006/relationships/image" Target="../media/image36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3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10" Type="http://schemas.openxmlformats.org/officeDocument/2006/relationships/image" Target="../media/image36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34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11" Type="http://schemas.openxmlformats.org/officeDocument/2006/relationships/image" Target="../media/image66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36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34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12" Type="http://schemas.openxmlformats.org/officeDocument/2006/relationships/image" Target="../media/image67.png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11" Type="http://schemas.openxmlformats.org/officeDocument/2006/relationships/image" Target="../media/image66.pn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36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34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11" Type="http://schemas.microsoft.com/office/2007/relationships/hdphoto" Target="../media/hdphoto5.wdp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44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43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11" Type="http://schemas.microsoft.com/office/2007/relationships/hdphoto" Target="../media/hdphoto5.wdp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44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43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12" Type="http://schemas.openxmlformats.org/officeDocument/2006/relationships/image" Target="../media/image45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11" Type="http://schemas.microsoft.com/office/2007/relationships/hdphoto" Target="../media/hdphoto5.wdp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44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43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72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12" Type="http://schemas.openxmlformats.org/officeDocument/2006/relationships/image" Target="../media/image45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11" Type="http://schemas.microsoft.com/office/2007/relationships/hdphoto" Target="../media/hdphoto5.wdp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44.pn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43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72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12" Type="http://schemas.openxmlformats.org/officeDocument/2006/relationships/image" Target="../media/image45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11" Type="http://schemas.microsoft.com/office/2007/relationships/hdphoto" Target="../media/hdphoto5.wdp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44.pn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43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72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12" Type="http://schemas.openxmlformats.org/officeDocument/2006/relationships/image" Target="../media/image45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11" Type="http://schemas.microsoft.com/office/2007/relationships/hdphoto" Target="../media/hdphoto5.wdp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44.png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4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microsoft.com/office/2007/relationships/hdphoto" Target="../media/hdphoto2.wdp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microsoft.com/office/2007/relationships/hdphoto" Target="../media/hdphoto2.wdp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Рисунок 2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39"/>
          <a:stretch/>
        </p:blipFill>
        <p:spPr>
          <a:xfrm>
            <a:off x="-7293" y="14514"/>
            <a:ext cx="12199293" cy="6843486"/>
          </a:xfrm>
          <a:prstGeom prst="rect">
            <a:avLst/>
          </a:prstGeom>
        </p:spPr>
      </p:pic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7970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6" name="Слайд think-cell" r:id="rId7" imgW="359" imgH="360" progId="TCLayout.ActiveDocument.1">
                  <p:embed/>
                </p:oleObj>
              </mc:Choice>
              <mc:Fallback>
                <p:oleObj name="Слайд think-cell" r:id="rId7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=""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D63DCCC5-C5C7-4939-A893-4A4DB73304DC}"/>
              </a:ext>
            </a:extLst>
          </p:cNvPr>
          <p:cNvSpPr/>
          <p:nvPr/>
        </p:nvSpPr>
        <p:spPr>
          <a:xfrm rot="10800000">
            <a:off x="-7293" y="14514"/>
            <a:ext cx="12192000" cy="6858000"/>
          </a:xfrm>
          <a:prstGeom prst="rect">
            <a:avLst/>
          </a:prstGeom>
          <a:gradFill>
            <a:gsLst>
              <a:gs pos="0">
                <a:srgbClr val="00B0F0">
                  <a:alpha val="70000"/>
                </a:srgbClr>
              </a:gs>
              <a:gs pos="88000">
                <a:srgbClr val="2D2B8D">
                  <a:alpha val="70000"/>
                </a:srgb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850849" y="2058519"/>
            <a:ext cx="10690488" cy="2077492"/>
          </a:xfrm>
        </p:spPr>
        <p:txBody>
          <a:bodyPr wrap="square" lIns="0" tIns="0" rIns="0" bIns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ru-RU" sz="4500" b="1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Решение практико-ориентированных задач математического содержания в 7 - 9 классах</a:t>
            </a: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7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>
              <a:solidFill>
                <a:schemeClr val="bg1"/>
              </a:solidFill>
            </a:endParaRPr>
          </a:p>
        </p:txBody>
      </p:sp>
      <p:grpSp>
        <p:nvGrpSpPr>
          <p:cNvPr id="24" name="Группа 23">
            <a:extLst>
              <a:ext uri="{FF2B5EF4-FFF2-40B4-BE49-F238E27FC236}">
                <a16:creationId xmlns="" xmlns:a16="http://schemas.microsoft.com/office/drawing/2014/main" id="{C5B8FA12-8F11-450D-B1D4-14C77A453207}"/>
              </a:ext>
            </a:extLst>
          </p:cNvPr>
          <p:cNvGrpSpPr/>
          <p:nvPr/>
        </p:nvGrpSpPr>
        <p:grpSpPr>
          <a:xfrm>
            <a:off x="9784442" y="139004"/>
            <a:ext cx="2131199" cy="736914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3"/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6"/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7"/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19"/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</p:grpSp>
      <p:sp>
        <p:nvSpPr>
          <p:cNvPr id="26" name="TextBox 25"/>
          <p:cNvSpPr txBox="1"/>
          <p:nvPr/>
        </p:nvSpPr>
        <p:spPr>
          <a:xfrm>
            <a:off x="1413721" y="5897480"/>
            <a:ext cx="699787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800" dirty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сети Интернет и в корпоративных сетях, а также запись в память ЭВМ, для частного или публичного использования, без письменного разрешения владельца авторских прав. © </a:t>
            </a:r>
            <a:r>
              <a:rPr lang="ru-RU" sz="800" dirty="0" smtClean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АО «Издательство «Просвещение», 2020</a:t>
            </a:r>
            <a:endParaRPr lang="ru-RU" sz="800" dirty="0">
              <a:solidFill>
                <a:schemeClr val="bg1">
                  <a:lumMod val="8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9791460" y="875918"/>
            <a:ext cx="21148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</a:rPr>
              <a:t>основано в 1930</a:t>
            </a:r>
            <a:endParaRPr lang="ru-RU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8970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0</a:t>
            </a:fld>
            <a:endParaRPr lang="ru-RU" dirty="0"/>
          </a:p>
        </p:txBody>
      </p:sp>
      <p:sp>
        <p:nvSpPr>
          <p:cNvPr id="34" name="TextBox 33"/>
          <p:cNvSpPr txBox="1"/>
          <p:nvPr/>
        </p:nvSpPr>
        <p:spPr>
          <a:xfrm>
            <a:off x="192106" y="224272"/>
            <a:ext cx="10509189" cy="409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8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Серия «Функциональная Грамотность</a:t>
            </a: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. Тренажёры»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35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75029" y="6697029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rgbClr val="002060"/>
                </a:solidFill>
              </a:rPr>
              <a:t>© АО «Издательство «Просвещение» </a:t>
            </a:r>
            <a:r>
              <a:rPr lang="ru-RU" sz="700" dirty="0" smtClean="0">
                <a:solidFill>
                  <a:srgbClr val="002060"/>
                </a:solidFill>
              </a:rPr>
              <a:t>2020</a:t>
            </a:r>
            <a:endParaRPr lang="ru-RU" sz="700" dirty="0">
              <a:solidFill>
                <a:srgbClr val="002060"/>
              </a:solidFill>
            </a:endParaRPr>
          </a:p>
        </p:txBody>
      </p:sp>
      <p:pic>
        <p:nvPicPr>
          <p:cNvPr id="1054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793" y="814225"/>
            <a:ext cx="1638300" cy="31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0" y="1172866"/>
            <a:ext cx="12139655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/>
              <a:t>Вопрос </a:t>
            </a:r>
            <a:r>
              <a:rPr lang="ru-RU" b="1" dirty="0" smtClean="0"/>
              <a:t>2</a:t>
            </a:r>
            <a:endParaRPr lang="ru-RU" b="1" dirty="0"/>
          </a:p>
          <a:p>
            <a:r>
              <a:rPr lang="ru-RU" dirty="0"/>
              <a:t>Для того чтобы спасти от вырубки одно дерево, требуется </a:t>
            </a:r>
            <a:r>
              <a:rPr lang="ru-RU" dirty="0" smtClean="0"/>
              <a:t>собрать и </a:t>
            </a:r>
            <a:r>
              <a:rPr lang="ru-RU" dirty="0"/>
              <a:t>сдать на переработку около 80 кг макулатуры. Эта информация</a:t>
            </a:r>
            <a:r>
              <a:rPr lang="ru-RU" dirty="0" smtClean="0"/>
              <a:t>, услышанная </a:t>
            </a:r>
            <a:r>
              <a:rPr lang="ru-RU" dirty="0"/>
              <a:t>на уроке, очень заинтересовала </a:t>
            </a:r>
            <a:r>
              <a:rPr lang="ru-RU" dirty="0" smtClean="0"/>
              <a:t>друзей-семиклассников Романа </a:t>
            </a:r>
            <a:r>
              <a:rPr lang="ru-RU" dirty="0"/>
              <a:t>и Михаила. Они придумали проект и организовали сбор </a:t>
            </a:r>
            <a:r>
              <a:rPr lang="ru-RU" dirty="0" smtClean="0"/>
              <a:t>макулатуры </a:t>
            </a:r>
            <a:r>
              <a:rPr lang="ru-RU" dirty="0"/>
              <a:t>школьниками всей области, а школам-победителям </a:t>
            </a:r>
            <a:r>
              <a:rPr lang="ru-RU" dirty="0" smtClean="0"/>
              <a:t>областной </a:t>
            </a:r>
            <a:r>
              <a:rPr lang="ru-RU" dirty="0"/>
              <a:t>филиал Российского центра защиты леса подарил </a:t>
            </a:r>
            <a:r>
              <a:rPr lang="ru-RU" dirty="0" smtClean="0"/>
              <a:t>саженцы для </a:t>
            </a:r>
            <a:r>
              <a:rPr lang="ru-RU" dirty="0"/>
              <a:t>высадки на пришкольном участке. Учащиеся школы, в которой</a:t>
            </a:r>
          </a:p>
          <a:p>
            <a:r>
              <a:rPr lang="ru-RU" dirty="0"/>
              <a:t>учатся Роман и Михаил, собрали 1,2 т макулатуры, причём </a:t>
            </a:r>
            <a:r>
              <a:rPr lang="ru-RU" dirty="0" smtClean="0"/>
              <a:t>учащиеся </a:t>
            </a:r>
            <a:r>
              <a:rPr lang="ru-RU" dirty="0"/>
              <a:t>начальной школы собрали 20 % всего количества, основной </a:t>
            </a:r>
            <a:r>
              <a:rPr lang="ru-RU" dirty="0" smtClean="0"/>
              <a:t>— 60 </a:t>
            </a:r>
            <a:r>
              <a:rPr lang="ru-RU" dirty="0"/>
              <a:t>% и старшей — 20 %. Сколько деревьев спасли учащиеся</a:t>
            </a:r>
          </a:p>
          <a:p>
            <a:r>
              <a:rPr lang="ru-RU" dirty="0"/>
              <a:t>а) начальной школы,</a:t>
            </a:r>
          </a:p>
          <a:p>
            <a:r>
              <a:rPr lang="ru-RU" dirty="0"/>
              <a:t>б) основной школы,</a:t>
            </a:r>
          </a:p>
          <a:p>
            <a:r>
              <a:rPr lang="ru-RU" dirty="0"/>
              <a:t>в) старшей школы?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2" name="Таблица 1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45619429"/>
                  </p:ext>
                </p:extLst>
              </p:nvPr>
            </p:nvGraphicFramePr>
            <p:xfrm>
              <a:off x="3437719" y="3271797"/>
              <a:ext cx="7999105" cy="148336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2089624"/>
                    <a:gridCol w="791570"/>
                    <a:gridCol w="2483893"/>
                    <a:gridCol w="2634018"/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dirty="0" smtClean="0"/>
                            <a:t>Начальная школа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ru-RU" dirty="0" smtClean="0"/>
                            <a:t>20%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r>
                                  <a:rPr lang="ru-RU" i="1" dirty="0" smtClean="0">
                                    <a:latin typeface="Cambria Math"/>
                                  </a:rPr>
                                  <m:t>1200</m:t>
                                </m:r>
                                <m:r>
                                  <a:rPr lang="ru-RU" i="1" dirty="0" smtClean="0">
                                    <a:latin typeface="Cambria Math"/>
                                    <a:ea typeface="Cambria Math"/>
                                  </a:rPr>
                                  <m:t>∙</m:t>
                                </m:r>
                                <m:r>
                                  <a:rPr lang="ru-RU" b="0" i="1" dirty="0" smtClean="0">
                                    <a:latin typeface="Cambria Math"/>
                                    <a:ea typeface="Cambria Math"/>
                                  </a:rPr>
                                  <m:t>0,2=240 (кг)</m:t>
                                </m:r>
                              </m:oMath>
                            </m:oMathPara>
                          </a14:m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r>
                                  <a:rPr lang="ru-RU" b="0" i="1" smtClean="0">
                                    <a:latin typeface="Cambria Math"/>
                                  </a:rPr>
                                  <m:t>240:80=3 (дерева)</m:t>
                                </m:r>
                              </m:oMath>
                            </m:oMathPara>
                          </a14:m>
                          <a:endParaRPr lang="ru-RU" dirty="0"/>
                        </a:p>
                      </a:txBody>
                      <a:tcPr/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dirty="0" smtClean="0"/>
                            <a:t>Основная школа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ru-RU" dirty="0" smtClean="0"/>
                            <a:t>60%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r>
                                  <a:rPr lang="ru-RU" i="1" dirty="0" smtClean="0">
                                    <a:latin typeface="Cambria Math"/>
                                  </a:rPr>
                                  <m:t>1200</m:t>
                                </m:r>
                                <m:r>
                                  <a:rPr lang="ru-RU" i="1" dirty="0" smtClean="0">
                                    <a:latin typeface="Cambria Math"/>
                                    <a:ea typeface="Cambria Math"/>
                                  </a:rPr>
                                  <m:t>∙</m:t>
                                </m:r>
                                <m:r>
                                  <a:rPr lang="ru-RU" b="0" i="1" dirty="0" smtClean="0">
                                    <a:latin typeface="Cambria Math"/>
                                    <a:ea typeface="Cambria Math"/>
                                  </a:rPr>
                                  <m:t>0,6=720 (кг)</m:t>
                                </m:r>
                              </m:oMath>
                            </m:oMathPara>
                          </a14:m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r>
                                  <a:rPr lang="ru-RU" b="0" i="1" smtClean="0">
                                    <a:latin typeface="Cambria Math"/>
                                  </a:rPr>
                                  <m:t>720:80=9 (деревьев)</m:t>
                                </m:r>
                              </m:oMath>
                            </m:oMathPara>
                          </a14:m>
                          <a:endParaRPr lang="ru-RU" dirty="0"/>
                        </a:p>
                      </a:txBody>
                      <a:tcPr/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dirty="0" smtClean="0"/>
                            <a:t>Средняя школа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ru-RU" dirty="0" smtClean="0"/>
                            <a:t>20%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r>
                                  <a:rPr lang="ru-RU" i="1" dirty="0" smtClean="0">
                                    <a:latin typeface="Cambria Math"/>
                                  </a:rPr>
                                  <m:t>1200</m:t>
                                </m:r>
                                <m:r>
                                  <a:rPr lang="ru-RU" i="1" dirty="0" smtClean="0">
                                    <a:latin typeface="Cambria Math"/>
                                    <a:ea typeface="Cambria Math"/>
                                  </a:rPr>
                                  <m:t>∙</m:t>
                                </m:r>
                                <m:r>
                                  <a:rPr lang="ru-RU" b="0" i="1" dirty="0" smtClean="0">
                                    <a:latin typeface="Cambria Math"/>
                                    <a:ea typeface="Cambria Math"/>
                                  </a:rPr>
                                  <m:t>0,2=240 (кг)</m:t>
                                </m:r>
                              </m:oMath>
                            </m:oMathPara>
                          </a14:m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r>
                                  <a:rPr lang="ru-RU" b="0" i="1" smtClean="0">
                                    <a:latin typeface="Cambria Math"/>
                                  </a:rPr>
                                  <m:t>240:80=3 (дерева)</m:t>
                                </m:r>
                              </m:oMath>
                            </m:oMathPara>
                          </a14:m>
                          <a:endParaRPr lang="ru-RU" dirty="0"/>
                        </a:p>
                      </a:txBody>
                      <a:tcPr/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dirty="0" smtClean="0"/>
                            <a:t>Итого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ru-RU" dirty="0" smtClean="0"/>
                            <a:t>100%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ru-RU" dirty="0" smtClean="0"/>
                            <a:t>1,2 т = 1200</a:t>
                          </a:r>
                          <a:r>
                            <a:rPr lang="ru-RU" baseline="0" dirty="0" smtClean="0"/>
                            <a:t> кг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 dirty="0"/>
                        </a:p>
                      </a:txBody>
                      <a:tcPr/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2" name="Таблица 1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45619429"/>
                  </p:ext>
                </p:extLst>
              </p:nvPr>
            </p:nvGraphicFramePr>
            <p:xfrm>
              <a:off x="3437719" y="3271797"/>
              <a:ext cx="7999105" cy="148336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2089624"/>
                    <a:gridCol w="791570"/>
                    <a:gridCol w="2483893"/>
                    <a:gridCol w="2634018"/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dirty="0" smtClean="0"/>
                            <a:t>Начальная школа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ru-RU" dirty="0" smtClean="0"/>
                            <a:t>20%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4"/>
                          <a:stretch>
                            <a:fillRect l="-116462" t="-8197" r="-106388" b="-32295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4"/>
                          <a:stretch>
                            <a:fillRect l="-203935" t="-8197" r="-231" b="-322951"/>
                          </a:stretch>
                        </a:blipFill>
                      </a:tcPr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dirty="0" smtClean="0"/>
                            <a:t>Основная школа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ru-RU" dirty="0" smtClean="0"/>
                            <a:t>60%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4"/>
                          <a:stretch>
                            <a:fillRect l="-116462" t="-108197" r="-106388" b="-22295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4"/>
                          <a:stretch>
                            <a:fillRect l="-203935" t="-108197" r="-231" b="-222951"/>
                          </a:stretch>
                        </a:blipFill>
                      </a:tcPr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dirty="0" smtClean="0"/>
                            <a:t>Средняя школа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ru-RU" dirty="0" smtClean="0"/>
                            <a:t>20%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4"/>
                          <a:stretch>
                            <a:fillRect l="-116462" t="-211667" r="-106388" b="-1266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4"/>
                          <a:stretch>
                            <a:fillRect l="-203935" t="-211667" r="-231" b="-126667"/>
                          </a:stretch>
                        </a:blipFill>
                      </a:tcPr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dirty="0" smtClean="0"/>
                            <a:t>Итого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ru-RU" dirty="0" smtClean="0"/>
                            <a:t>100%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ru-RU" dirty="0" smtClean="0"/>
                            <a:t>1,2 т = 1200</a:t>
                          </a:r>
                          <a:r>
                            <a:rPr lang="ru-RU" baseline="0" dirty="0" smtClean="0"/>
                            <a:t> кг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 dirty="0"/>
                        </a:p>
                      </a:txBody>
                      <a:tcPr/>
                    </a:tc>
                  </a:tr>
                </a:tbl>
              </a:graphicData>
            </a:graphic>
          </p:graphicFrame>
        </mc:Fallback>
      </mc:AlternateContent>
      <p:sp>
        <p:nvSpPr>
          <p:cNvPr id="9" name="Прямоугольник 8"/>
          <p:cNvSpPr/>
          <p:nvPr/>
        </p:nvSpPr>
        <p:spPr>
          <a:xfrm>
            <a:off x="3365433" y="5564454"/>
            <a:ext cx="783830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/>
              <a:t>Ответ: </a:t>
            </a:r>
            <a:r>
              <a:rPr lang="ru-RU" dirty="0" smtClean="0"/>
              <a:t>начальной и старшей школ</a:t>
            </a:r>
            <a:r>
              <a:rPr lang="ru-RU" dirty="0"/>
              <a:t>ы</a:t>
            </a:r>
            <a:r>
              <a:rPr lang="ru-RU" dirty="0" smtClean="0"/>
              <a:t> по 3 дерева, основной школы 9 деревьев.</a:t>
            </a:r>
            <a:endParaRPr lang="ru-RU" dirty="0"/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9648967" y="1760561"/>
            <a:ext cx="1678675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/>
        </p:nvCxnSpPr>
        <p:spPr>
          <a:xfrm>
            <a:off x="3452883" y="1760561"/>
            <a:ext cx="1201004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42266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1</a:t>
            </a:fld>
            <a:endParaRPr lang="ru-RU" dirty="0"/>
          </a:p>
        </p:txBody>
      </p:sp>
      <p:sp>
        <p:nvSpPr>
          <p:cNvPr id="34" name="TextBox 33"/>
          <p:cNvSpPr txBox="1"/>
          <p:nvPr/>
        </p:nvSpPr>
        <p:spPr>
          <a:xfrm>
            <a:off x="192106" y="224272"/>
            <a:ext cx="10509189" cy="409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8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Серия «Функциональная Грамотность</a:t>
            </a: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. Тренажёры»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35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75029" y="6697029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rgbClr val="002060"/>
                </a:solidFill>
              </a:rPr>
              <a:t>© АО «Издательство «Просвещение» </a:t>
            </a:r>
            <a:r>
              <a:rPr lang="ru-RU" sz="700" dirty="0" smtClean="0">
                <a:solidFill>
                  <a:srgbClr val="002060"/>
                </a:solidFill>
              </a:rPr>
              <a:t>2020</a:t>
            </a:r>
            <a:endParaRPr lang="ru-RU" sz="700" dirty="0">
              <a:solidFill>
                <a:srgbClr val="002060"/>
              </a:solidFill>
            </a:endParaRPr>
          </a:p>
        </p:txBody>
      </p:sp>
      <p:pic>
        <p:nvPicPr>
          <p:cNvPr id="1054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793" y="814225"/>
            <a:ext cx="1638300" cy="31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0" y="1172866"/>
            <a:ext cx="1213965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/>
              <a:t>Вопрос </a:t>
            </a:r>
            <a:r>
              <a:rPr lang="ru-RU" b="1" dirty="0" smtClean="0"/>
              <a:t>3</a:t>
            </a:r>
            <a:endParaRPr lang="ru-RU" b="1" dirty="0"/>
          </a:p>
          <a:p>
            <a:r>
              <a:rPr lang="ru-RU" dirty="0"/>
              <a:t>Известно, что в Южной Америке леса занимают 8,6 млн </a:t>
            </a:r>
            <a:r>
              <a:rPr lang="ru-RU" dirty="0" smtClean="0"/>
              <a:t>км</a:t>
            </a:r>
            <a:r>
              <a:rPr lang="ru-RU" baseline="30000" dirty="0" smtClean="0"/>
              <a:t>2</a:t>
            </a:r>
            <a:r>
              <a:rPr lang="ru-RU" dirty="0" smtClean="0"/>
              <a:t>, а </a:t>
            </a:r>
            <a:r>
              <a:rPr lang="ru-RU" dirty="0"/>
              <a:t>в Африке — 6,7 млн </a:t>
            </a:r>
            <a:r>
              <a:rPr lang="ru-RU" dirty="0" smtClean="0"/>
              <a:t>км</a:t>
            </a:r>
            <a:r>
              <a:rPr lang="ru-RU" baseline="30000" dirty="0" smtClean="0"/>
              <a:t>2</a:t>
            </a:r>
            <a:r>
              <a:rPr lang="ru-RU" dirty="0" smtClean="0"/>
              <a:t>. </a:t>
            </a:r>
            <a:r>
              <a:rPr lang="ru-RU" dirty="0"/>
              <a:t>Площадь лесов в этих регионах </a:t>
            </a:r>
            <a:r>
              <a:rPr lang="ru-RU" dirty="0" smtClean="0"/>
              <a:t>постоянно </a:t>
            </a:r>
            <a:r>
              <a:rPr lang="ru-RU" dirty="0"/>
              <a:t>сокращается, по оценкам специалистов, примерно </a:t>
            </a:r>
            <a:r>
              <a:rPr lang="ru-RU" dirty="0" smtClean="0"/>
              <a:t>на 40 </a:t>
            </a:r>
            <a:r>
              <a:rPr lang="ru-RU" dirty="0"/>
              <a:t>000 </a:t>
            </a:r>
            <a:r>
              <a:rPr lang="ru-RU" dirty="0" smtClean="0"/>
              <a:t>км</a:t>
            </a:r>
            <a:r>
              <a:rPr lang="ru-RU" baseline="30000" dirty="0" smtClean="0"/>
              <a:t>2 </a:t>
            </a:r>
            <a:r>
              <a:rPr lang="ru-RU" dirty="0" smtClean="0"/>
              <a:t>в </a:t>
            </a:r>
            <a:r>
              <a:rPr lang="ru-RU" dirty="0"/>
              <a:t>год. Запишите формулу изменения площади </a:t>
            </a:r>
            <a:r>
              <a:rPr lang="ru-RU" dirty="0" smtClean="0"/>
              <a:t>лесов на </a:t>
            </a:r>
            <a:r>
              <a:rPr lang="ru-RU" dirty="0"/>
              <a:t>территории Южной Америки и Африки и с её помощью </a:t>
            </a:r>
            <a:r>
              <a:rPr lang="ru-RU" dirty="0" smtClean="0"/>
              <a:t>определите</a:t>
            </a:r>
            <a:r>
              <a:rPr lang="ru-RU" dirty="0"/>
              <a:t>, через сколько лет площадь лесов в Южной Америке </a:t>
            </a:r>
            <a:r>
              <a:rPr lang="ru-RU" dirty="0" smtClean="0"/>
              <a:t>и Африке </a:t>
            </a:r>
            <a:r>
              <a:rPr lang="ru-RU" dirty="0"/>
              <a:t>сократится на 20 %, если не будут предприняты </a:t>
            </a:r>
            <a:r>
              <a:rPr lang="ru-RU" dirty="0" smtClean="0"/>
              <a:t>усилия по </a:t>
            </a:r>
            <a:r>
              <a:rPr lang="ru-RU" dirty="0"/>
              <a:t>их восстановлению</a:t>
            </a:r>
            <a:r>
              <a:rPr lang="ru-RU" dirty="0" smtClean="0"/>
              <a:t>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37100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2</a:t>
            </a:fld>
            <a:endParaRPr lang="ru-RU" dirty="0"/>
          </a:p>
        </p:txBody>
      </p:sp>
      <p:sp>
        <p:nvSpPr>
          <p:cNvPr id="34" name="TextBox 33"/>
          <p:cNvSpPr txBox="1"/>
          <p:nvPr/>
        </p:nvSpPr>
        <p:spPr>
          <a:xfrm>
            <a:off x="192106" y="224272"/>
            <a:ext cx="10509189" cy="409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8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Серия «Функциональная Грамотность</a:t>
            </a: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. Тренажёры»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35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75029" y="6697029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rgbClr val="002060"/>
                </a:solidFill>
              </a:rPr>
              <a:t>© АО «Издательство «Просвещение» </a:t>
            </a:r>
            <a:r>
              <a:rPr lang="ru-RU" sz="700" dirty="0" smtClean="0">
                <a:solidFill>
                  <a:srgbClr val="002060"/>
                </a:solidFill>
              </a:rPr>
              <a:t>2020</a:t>
            </a:r>
            <a:endParaRPr lang="ru-RU" sz="700" dirty="0">
              <a:solidFill>
                <a:srgbClr val="002060"/>
              </a:solidFill>
            </a:endParaRPr>
          </a:p>
        </p:txBody>
      </p:sp>
      <p:pic>
        <p:nvPicPr>
          <p:cNvPr id="1054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793" y="814225"/>
            <a:ext cx="1638300" cy="31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0" y="1172866"/>
            <a:ext cx="1213965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/>
              <a:t>Вопрос </a:t>
            </a:r>
            <a:r>
              <a:rPr lang="ru-RU" b="1" dirty="0" smtClean="0"/>
              <a:t>3</a:t>
            </a:r>
            <a:endParaRPr lang="ru-RU" b="1" dirty="0"/>
          </a:p>
          <a:p>
            <a:r>
              <a:rPr lang="ru-RU" dirty="0"/>
              <a:t>Известно, что в Южной Америке леса занимают 8,6 млн </a:t>
            </a:r>
            <a:r>
              <a:rPr lang="ru-RU" dirty="0" smtClean="0"/>
              <a:t>км</a:t>
            </a:r>
            <a:r>
              <a:rPr lang="ru-RU" baseline="30000" dirty="0" smtClean="0"/>
              <a:t>2</a:t>
            </a:r>
            <a:r>
              <a:rPr lang="ru-RU" dirty="0" smtClean="0"/>
              <a:t>, а </a:t>
            </a:r>
            <a:r>
              <a:rPr lang="ru-RU" dirty="0"/>
              <a:t>в Африке — 6,7 млн </a:t>
            </a:r>
            <a:r>
              <a:rPr lang="ru-RU" dirty="0" smtClean="0"/>
              <a:t>км</a:t>
            </a:r>
            <a:r>
              <a:rPr lang="ru-RU" baseline="30000" dirty="0" smtClean="0"/>
              <a:t>2</a:t>
            </a:r>
            <a:r>
              <a:rPr lang="ru-RU" dirty="0" smtClean="0"/>
              <a:t>. </a:t>
            </a:r>
            <a:r>
              <a:rPr lang="ru-RU" dirty="0"/>
              <a:t>Площадь лесов в этих регионах </a:t>
            </a:r>
            <a:r>
              <a:rPr lang="ru-RU" dirty="0" smtClean="0"/>
              <a:t>постоянно </a:t>
            </a:r>
            <a:r>
              <a:rPr lang="ru-RU" dirty="0"/>
              <a:t>сокращается, по оценкам специалистов, примерно </a:t>
            </a:r>
            <a:r>
              <a:rPr lang="ru-RU" dirty="0" smtClean="0"/>
              <a:t>на 40 </a:t>
            </a:r>
            <a:r>
              <a:rPr lang="ru-RU" dirty="0"/>
              <a:t>000 </a:t>
            </a:r>
            <a:r>
              <a:rPr lang="ru-RU" dirty="0" smtClean="0"/>
              <a:t>км</a:t>
            </a:r>
            <a:r>
              <a:rPr lang="ru-RU" baseline="30000" dirty="0" smtClean="0"/>
              <a:t>2 </a:t>
            </a:r>
            <a:r>
              <a:rPr lang="ru-RU" dirty="0" smtClean="0"/>
              <a:t>в </a:t>
            </a:r>
            <a:r>
              <a:rPr lang="ru-RU" dirty="0"/>
              <a:t>год. Запишите формулу изменения площади </a:t>
            </a:r>
            <a:r>
              <a:rPr lang="ru-RU" dirty="0" smtClean="0"/>
              <a:t>лесов на </a:t>
            </a:r>
            <a:r>
              <a:rPr lang="ru-RU" dirty="0"/>
              <a:t>территории Южной Америки и Африки и с её помощью </a:t>
            </a:r>
            <a:r>
              <a:rPr lang="ru-RU" dirty="0" smtClean="0"/>
              <a:t>определите</a:t>
            </a:r>
            <a:r>
              <a:rPr lang="ru-RU" dirty="0"/>
              <a:t>, через сколько лет площадь лесов в Южной Америке </a:t>
            </a:r>
            <a:r>
              <a:rPr lang="ru-RU" dirty="0" smtClean="0"/>
              <a:t>и Африке </a:t>
            </a:r>
            <a:r>
              <a:rPr lang="ru-RU" dirty="0"/>
              <a:t>сократится на 20 %, если не будут предприняты </a:t>
            </a:r>
            <a:r>
              <a:rPr lang="ru-RU" dirty="0" smtClean="0"/>
              <a:t>усилия по </a:t>
            </a:r>
            <a:r>
              <a:rPr lang="ru-RU" dirty="0"/>
              <a:t>их восстановлению</a:t>
            </a:r>
            <a:r>
              <a:rPr lang="ru-RU" dirty="0" smtClean="0"/>
              <a:t>.</a:t>
            </a:r>
            <a:endParaRPr lang="ru-R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Прямоугольник 7"/>
              <p:cNvSpPr/>
              <p:nvPr/>
            </p:nvSpPr>
            <p:spPr>
              <a:xfrm>
                <a:off x="0" y="2650194"/>
                <a:ext cx="12139655" cy="120032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b="1" dirty="0" smtClean="0"/>
                  <a:t>Решение.</a:t>
                </a:r>
                <a:endParaRPr lang="ru-RU" b="1" dirty="0"/>
              </a:p>
              <a:p>
                <a:r>
                  <a:rPr lang="ru-RU" dirty="0" smtClean="0"/>
                  <a:t>Пусть площадь лесов за </a:t>
                </a:r>
                <a:r>
                  <a:rPr lang="en-US" dirty="0" smtClean="0"/>
                  <a:t>S</a:t>
                </a:r>
                <a:r>
                  <a:rPr lang="ru-RU" dirty="0" smtClean="0"/>
                  <a:t> км</a:t>
                </a:r>
                <a:r>
                  <a:rPr lang="ru-RU" baseline="30000" dirty="0" smtClean="0"/>
                  <a:t>2</a:t>
                </a:r>
                <a:r>
                  <a:rPr lang="ru-RU" dirty="0" smtClean="0"/>
                  <a:t>, количество лет, за которые сокращается площадь лесов  </a:t>
                </a:r>
                <a:r>
                  <a:rPr lang="en-US" dirty="0" smtClean="0"/>
                  <a:t>n</a:t>
                </a:r>
                <a:r>
                  <a:rPr lang="ru-RU" dirty="0" smtClean="0"/>
                  <a:t>.</a:t>
                </a:r>
              </a:p>
              <a:p>
                <a:r>
                  <a:rPr lang="ru-RU" dirty="0" smtClean="0"/>
                  <a:t>Формула изменения  площади лесов на территории Южной Америки и Африки:</a:t>
                </a:r>
              </a:p>
              <a:p>
                <a:pPr algn="ctr"/>
                <a:r>
                  <a:rPr lang="ru-RU" dirty="0" smtClean="0"/>
                  <a:t>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/>
                      </a:rPr>
                      <m:t>𝑆</m:t>
                    </m:r>
                    <m:r>
                      <a:rPr lang="en-US" b="0" i="1" smtClean="0">
                        <a:latin typeface="Cambria Math"/>
                      </a:rPr>
                      <m:t>−40000</m:t>
                    </m:r>
                    <m:r>
                      <a:rPr lang="en-US" b="0" i="1" smtClean="0">
                        <a:latin typeface="Cambria Math"/>
                      </a:rPr>
                      <m:t>𝑛</m:t>
                    </m:r>
                    <m:r>
                      <a:rPr lang="en-US" b="0" i="1" smtClean="0">
                        <a:latin typeface="Cambria Math"/>
                      </a:rPr>
                      <m:t>=0,8</m:t>
                    </m:r>
                    <m:r>
                      <a:rPr lang="en-US" b="0" i="1" smtClean="0">
                        <a:latin typeface="Cambria Math"/>
                      </a:rPr>
                      <m:t>𝑆</m:t>
                    </m:r>
                  </m:oMath>
                </a14:m>
                <a:endParaRPr lang="ru-RU" dirty="0"/>
              </a:p>
            </p:txBody>
          </p:sp>
        </mc:Choice>
        <mc:Fallback xmlns="">
          <p:sp>
            <p:nvSpPr>
              <p:cNvPr id="8" name="Прямоугольник 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2650194"/>
                <a:ext cx="12139655" cy="1200329"/>
              </a:xfrm>
              <a:prstGeom prst="rect">
                <a:avLst/>
              </a:prstGeom>
              <a:blipFill rotWithShape="1">
                <a:blip r:embed="rId4"/>
                <a:stretch>
                  <a:fillRect l="-402" t="-2538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220537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3</a:t>
            </a:fld>
            <a:endParaRPr lang="ru-RU" dirty="0"/>
          </a:p>
        </p:txBody>
      </p:sp>
      <p:sp>
        <p:nvSpPr>
          <p:cNvPr id="34" name="TextBox 33"/>
          <p:cNvSpPr txBox="1"/>
          <p:nvPr/>
        </p:nvSpPr>
        <p:spPr>
          <a:xfrm>
            <a:off x="192106" y="224272"/>
            <a:ext cx="10509189" cy="409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8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Серия «Функциональная Грамотность</a:t>
            </a: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. Тренажёры»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35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75029" y="6697029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rgbClr val="002060"/>
                </a:solidFill>
              </a:rPr>
              <a:t>© АО «Издательство «Просвещение» </a:t>
            </a:r>
            <a:r>
              <a:rPr lang="ru-RU" sz="700" dirty="0" smtClean="0">
                <a:solidFill>
                  <a:srgbClr val="002060"/>
                </a:solidFill>
              </a:rPr>
              <a:t>2020</a:t>
            </a:r>
            <a:endParaRPr lang="ru-RU" sz="700" dirty="0">
              <a:solidFill>
                <a:srgbClr val="002060"/>
              </a:solidFill>
            </a:endParaRPr>
          </a:p>
        </p:txBody>
      </p:sp>
      <p:pic>
        <p:nvPicPr>
          <p:cNvPr id="1054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793" y="814225"/>
            <a:ext cx="1638300" cy="31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0" y="1172866"/>
            <a:ext cx="1213965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/>
              <a:t>Вопрос </a:t>
            </a:r>
            <a:r>
              <a:rPr lang="ru-RU" b="1" dirty="0" smtClean="0"/>
              <a:t>3</a:t>
            </a:r>
            <a:endParaRPr lang="ru-RU" b="1" dirty="0"/>
          </a:p>
          <a:p>
            <a:r>
              <a:rPr lang="ru-RU" dirty="0"/>
              <a:t>Известно, что в Южной Америке леса занимают 8,6 млн </a:t>
            </a:r>
            <a:r>
              <a:rPr lang="ru-RU" dirty="0" smtClean="0"/>
              <a:t>км</a:t>
            </a:r>
            <a:r>
              <a:rPr lang="ru-RU" baseline="30000" dirty="0" smtClean="0"/>
              <a:t>2</a:t>
            </a:r>
            <a:r>
              <a:rPr lang="ru-RU" dirty="0" smtClean="0"/>
              <a:t>, а </a:t>
            </a:r>
            <a:r>
              <a:rPr lang="ru-RU" dirty="0"/>
              <a:t>в Африке — 6,7 млн </a:t>
            </a:r>
            <a:r>
              <a:rPr lang="ru-RU" dirty="0" smtClean="0"/>
              <a:t>км</a:t>
            </a:r>
            <a:r>
              <a:rPr lang="ru-RU" baseline="30000" dirty="0" smtClean="0"/>
              <a:t>2</a:t>
            </a:r>
            <a:r>
              <a:rPr lang="ru-RU" dirty="0" smtClean="0"/>
              <a:t>. </a:t>
            </a:r>
            <a:r>
              <a:rPr lang="ru-RU" dirty="0"/>
              <a:t>Площадь лесов в этих регионах </a:t>
            </a:r>
            <a:r>
              <a:rPr lang="ru-RU" dirty="0" smtClean="0"/>
              <a:t>постоянно </a:t>
            </a:r>
            <a:r>
              <a:rPr lang="ru-RU" dirty="0"/>
              <a:t>сокращается, по оценкам специалистов, примерно </a:t>
            </a:r>
            <a:r>
              <a:rPr lang="ru-RU" dirty="0" smtClean="0"/>
              <a:t>на 40 </a:t>
            </a:r>
            <a:r>
              <a:rPr lang="ru-RU" dirty="0"/>
              <a:t>000 </a:t>
            </a:r>
            <a:r>
              <a:rPr lang="ru-RU" dirty="0" smtClean="0"/>
              <a:t>км</a:t>
            </a:r>
            <a:r>
              <a:rPr lang="ru-RU" baseline="30000" dirty="0" smtClean="0"/>
              <a:t>2 </a:t>
            </a:r>
            <a:r>
              <a:rPr lang="ru-RU" dirty="0" smtClean="0"/>
              <a:t>в </a:t>
            </a:r>
            <a:r>
              <a:rPr lang="ru-RU" dirty="0"/>
              <a:t>год. Запишите формулу изменения площади </a:t>
            </a:r>
            <a:r>
              <a:rPr lang="ru-RU" dirty="0" smtClean="0"/>
              <a:t>лесов на </a:t>
            </a:r>
            <a:r>
              <a:rPr lang="ru-RU" dirty="0"/>
              <a:t>территории Южной Америки и Африки и с её помощью </a:t>
            </a:r>
            <a:r>
              <a:rPr lang="ru-RU" dirty="0" smtClean="0"/>
              <a:t>определите</a:t>
            </a:r>
            <a:r>
              <a:rPr lang="ru-RU" dirty="0"/>
              <a:t>, через сколько лет площадь лесов в Южной Америке </a:t>
            </a:r>
            <a:r>
              <a:rPr lang="ru-RU" dirty="0" smtClean="0"/>
              <a:t>и Африке </a:t>
            </a:r>
            <a:r>
              <a:rPr lang="ru-RU" dirty="0"/>
              <a:t>сократится на 20 %, если не будут предприняты </a:t>
            </a:r>
            <a:r>
              <a:rPr lang="ru-RU" dirty="0" smtClean="0"/>
              <a:t>усилия по </a:t>
            </a:r>
            <a:r>
              <a:rPr lang="ru-RU" dirty="0"/>
              <a:t>их восстановлению</a:t>
            </a:r>
            <a:r>
              <a:rPr lang="ru-RU" dirty="0" smtClean="0"/>
              <a:t>.</a:t>
            </a:r>
            <a:endParaRPr lang="ru-R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Прямоугольник 7"/>
              <p:cNvSpPr/>
              <p:nvPr/>
            </p:nvSpPr>
            <p:spPr>
              <a:xfrm>
                <a:off x="0" y="2650194"/>
                <a:ext cx="12139655" cy="307212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b="1" dirty="0" smtClean="0"/>
                  <a:t>Решение.</a:t>
                </a:r>
                <a:endParaRPr lang="ru-RU" b="1" dirty="0"/>
              </a:p>
              <a:p>
                <a:r>
                  <a:rPr lang="ru-RU" dirty="0" smtClean="0"/>
                  <a:t>Пусть площадь лесов за </a:t>
                </a:r>
                <a:r>
                  <a:rPr lang="en-US" dirty="0" smtClean="0"/>
                  <a:t>S</a:t>
                </a:r>
                <a:r>
                  <a:rPr lang="ru-RU" dirty="0" smtClean="0"/>
                  <a:t> км</a:t>
                </a:r>
                <a:r>
                  <a:rPr lang="ru-RU" baseline="30000" dirty="0" smtClean="0"/>
                  <a:t>2</a:t>
                </a:r>
                <a:r>
                  <a:rPr lang="ru-RU" dirty="0" smtClean="0"/>
                  <a:t>, количество лет, за которые сокращается площадь лесов  </a:t>
                </a:r>
                <a:r>
                  <a:rPr lang="en-US" dirty="0" smtClean="0"/>
                  <a:t>n</a:t>
                </a:r>
                <a:r>
                  <a:rPr lang="ru-RU" dirty="0" smtClean="0"/>
                  <a:t>.</a:t>
                </a:r>
              </a:p>
              <a:p>
                <a:r>
                  <a:rPr lang="ru-RU" dirty="0" smtClean="0"/>
                  <a:t>Формула изменения  площади лесов на территории Южной Америки и Африки:</a:t>
                </a:r>
              </a:p>
              <a:p>
                <a:pPr algn="ctr"/>
                <a:r>
                  <a:rPr lang="ru-RU" dirty="0" smtClean="0"/>
                  <a:t>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/>
                      </a:rPr>
                      <m:t>𝑆</m:t>
                    </m:r>
                    <m:r>
                      <a:rPr lang="en-US" b="0" i="1" smtClean="0">
                        <a:latin typeface="Cambria Math"/>
                      </a:rPr>
                      <m:t>−40000</m:t>
                    </m:r>
                    <m:r>
                      <a:rPr lang="en-US" b="0" i="1" smtClean="0">
                        <a:latin typeface="Cambria Math"/>
                      </a:rPr>
                      <m:t>𝑛</m:t>
                    </m:r>
                    <m:r>
                      <a:rPr lang="en-US" b="0" i="1" smtClean="0">
                        <a:latin typeface="Cambria Math"/>
                      </a:rPr>
                      <m:t>=0,8</m:t>
                    </m:r>
                    <m:r>
                      <a:rPr lang="en-US" b="0" i="1" smtClean="0">
                        <a:latin typeface="Cambria Math"/>
                      </a:rPr>
                      <m:t>𝑆</m:t>
                    </m:r>
                  </m:oMath>
                </a14:m>
                <a:endParaRPr lang="en-US" dirty="0" smtClean="0"/>
              </a:p>
              <a:p>
                <a:r>
                  <a:rPr lang="ru-RU" dirty="0" smtClean="0"/>
                  <a:t>Выразим количество лет через площадь: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>
                          <a:latin typeface="Cambria Math"/>
                        </a:rPr>
                        <m:t>40000</m:t>
                      </m:r>
                      <m:r>
                        <a:rPr lang="en-US" i="1">
                          <a:latin typeface="Cambria Math"/>
                        </a:rPr>
                        <m:t>𝑛</m:t>
                      </m:r>
                      <m:r>
                        <a:rPr lang="en-US" i="1">
                          <a:latin typeface="Cambria Math"/>
                        </a:rPr>
                        <m:t>=</m:t>
                      </m:r>
                      <m:r>
                        <a:rPr lang="en-US" b="0" i="1" smtClean="0">
                          <a:latin typeface="Cambria Math"/>
                        </a:rPr>
                        <m:t>𝑆</m:t>
                      </m:r>
                      <m:r>
                        <a:rPr lang="en-US" b="0" i="1" smtClean="0">
                          <a:latin typeface="Cambria Math"/>
                        </a:rPr>
                        <m:t>−0,8</m:t>
                      </m:r>
                      <m:r>
                        <a:rPr lang="en-US" i="1">
                          <a:latin typeface="Cambria Math"/>
                        </a:rPr>
                        <m:t>𝑆</m:t>
                      </m:r>
                      <m:r>
                        <a:rPr lang="en-US" b="0" i="0" smtClean="0">
                          <a:latin typeface="Cambria Math"/>
                        </a:rPr>
                        <m:t>;</m:t>
                      </m:r>
                    </m:oMath>
                  </m:oMathPara>
                </a14:m>
                <a:endParaRPr lang="en-US" b="0" dirty="0" smtClean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>
                          <a:latin typeface="Cambria Math"/>
                        </a:rPr>
                        <m:t>40000</m:t>
                      </m:r>
                      <m:r>
                        <a:rPr lang="en-US" i="1">
                          <a:latin typeface="Cambria Math"/>
                        </a:rPr>
                        <m:t>𝑛</m:t>
                      </m:r>
                      <m:r>
                        <a:rPr lang="en-US" i="1">
                          <a:latin typeface="Cambria Math"/>
                        </a:rPr>
                        <m:t>=0,2</m:t>
                      </m:r>
                      <m:r>
                        <a:rPr lang="en-US" i="1">
                          <a:latin typeface="Cambria Math"/>
                        </a:rPr>
                        <m:t>𝑆</m:t>
                      </m:r>
                      <m:r>
                        <a:rPr lang="en-US">
                          <a:latin typeface="Cambria Math"/>
                        </a:rPr>
                        <m:t>;</m:t>
                      </m:r>
                    </m:oMath>
                  </m:oMathPara>
                </a14:m>
                <a:endParaRPr lang="en-US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>
                          <a:latin typeface="Cambria Math"/>
                        </a:rPr>
                        <m:t>𝑛</m:t>
                      </m:r>
                      <m:r>
                        <a:rPr lang="en-US" i="1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i="1" smtClean="0">
                              <a:latin typeface="Cambria Math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0,2</m:t>
                          </m:r>
                          <m:r>
                            <a:rPr lang="en-US" b="0" i="1" smtClean="0">
                              <a:latin typeface="Cambria Math"/>
                            </a:rPr>
                            <m:t>𝑆</m:t>
                          </m:r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40000</m:t>
                          </m:r>
                        </m:den>
                      </m:f>
                      <m:r>
                        <a:rPr lang="en-US">
                          <a:latin typeface="Cambria Math"/>
                        </a:rPr>
                        <m:t>;</m:t>
                      </m:r>
                    </m:oMath>
                  </m:oMathPara>
                </a14:m>
                <a:endParaRPr lang="en-US" dirty="0" smtClean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>
                          <a:latin typeface="Cambria Math"/>
                        </a:rPr>
                        <m:t>𝑛</m:t>
                      </m:r>
                      <m:r>
                        <a:rPr lang="en-US" i="1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i="1" smtClean="0">
                              <a:latin typeface="Cambria Math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𝑆</m:t>
                          </m:r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200000</m:t>
                          </m:r>
                        </m:den>
                      </m:f>
                      <m:r>
                        <a:rPr lang="en-US" b="0" i="0" smtClean="0">
                          <a:latin typeface="Cambria Math"/>
                        </a:rPr>
                        <m:t>.</m:t>
                      </m:r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8" name="Прямоугольник 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2650194"/>
                <a:ext cx="12139655" cy="3072123"/>
              </a:xfrm>
              <a:prstGeom prst="rect">
                <a:avLst/>
              </a:prstGeom>
              <a:blipFill rotWithShape="1">
                <a:blip r:embed="rId4"/>
                <a:stretch>
                  <a:fillRect l="-402" t="-992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306926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4</a:t>
            </a:fld>
            <a:endParaRPr lang="ru-RU" dirty="0"/>
          </a:p>
        </p:txBody>
      </p:sp>
      <p:sp>
        <p:nvSpPr>
          <p:cNvPr id="34" name="TextBox 33"/>
          <p:cNvSpPr txBox="1"/>
          <p:nvPr/>
        </p:nvSpPr>
        <p:spPr>
          <a:xfrm>
            <a:off x="192106" y="224272"/>
            <a:ext cx="10509189" cy="409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8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Серия «Функциональная Грамотность</a:t>
            </a: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. Тренажёры»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35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75029" y="6697029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rgbClr val="002060"/>
                </a:solidFill>
              </a:rPr>
              <a:t>© АО «Издательство «Просвещение» </a:t>
            </a:r>
            <a:r>
              <a:rPr lang="ru-RU" sz="700" dirty="0" smtClean="0">
                <a:solidFill>
                  <a:srgbClr val="002060"/>
                </a:solidFill>
              </a:rPr>
              <a:t>2020</a:t>
            </a:r>
            <a:endParaRPr lang="ru-RU" sz="700" dirty="0">
              <a:solidFill>
                <a:srgbClr val="002060"/>
              </a:solidFill>
            </a:endParaRPr>
          </a:p>
        </p:txBody>
      </p:sp>
      <p:pic>
        <p:nvPicPr>
          <p:cNvPr id="1054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793" y="814225"/>
            <a:ext cx="1638300" cy="31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0" y="1172866"/>
            <a:ext cx="1213965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/>
              <a:t>Вопрос </a:t>
            </a:r>
            <a:r>
              <a:rPr lang="ru-RU" b="1" dirty="0" smtClean="0"/>
              <a:t>3</a:t>
            </a:r>
            <a:endParaRPr lang="ru-RU" b="1" dirty="0"/>
          </a:p>
          <a:p>
            <a:r>
              <a:rPr lang="ru-RU" dirty="0"/>
              <a:t>Известно, что в Южной Америке леса занимают 8,6 млн </a:t>
            </a:r>
            <a:r>
              <a:rPr lang="ru-RU" dirty="0" smtClean="0"/>
              <a:t>км</a:t>
            </a:r>
            <a:r>
              <a:rPr lang="ru-RU" baseline="30000" dirty="0" smtClean="0"/>
              <a:t>2</a:t>
            </a:r>
            <a:r>
              <a:rPr lang="ru-RU" dirty="0" smtClean="0"/>
              <a:t>, а </a:t>
            </a:r>
            <a:r>
              <a:rPr lang="ru-RU" dirty="0"/>
              <a:t>в Африке — 6,7 млн </a:t>
            </a:r>
            <a:r>
              <a:rPr lang="ru-RU" dirty="0" smtClean="0"/>
              <a:t>км</a:t>
            </a:r>
            <a:r>
              <a:rPr lang="ru-RU" baseline="30000" dirty="0" smtClean="0"/>
              <a:t>2</a:t>
            </a:r>
            <a:r>
              <a:rPr lang="ru-RU" dirty="0" smtClean="0"/>
              <a:t>. </a:t>
            </a:r>
            <a:r>
              <a:rPr lang="ru-RU" dirty="0"/>
              <a:t>Площадь лесов в этих регионах </a:t>
            </a:r>
            <a:r>
              <a:rPr lang="ru-RU" dirty="0" smtClean="0"/>
              <a:t>постоянно </a:t>
            </a:r>
            <a:r>
              <a:rPr lang="ru-RU" dirty="0"/>
              <a:t>сокращается, по оценкам специалистов, примерно </a:t>
            </a:r>
            <a:r>
              <a:rPr lang="ru-RU" dirty="0" smtClean="0"/>
              <a:t>на 40 </a:t>
            </a:r>
            <a:r>
              <a:rPr lang="ru-RU" dirty="0"/>
              <a:t>000 </a:t>
            </a:r>
            <a:r>
              <a:rPr lang="ru-RU" dirty="0" smtClean="0"/>
              <a:t>км</a:t>
            </a:r>
            <a:r>
              <a:rPr lang="ru-RU" baseline="30000" dirty="0" smtClean="0"/>
              <a:t>2 </a:t>
            </a:r>
            <a:r>
              <a:rPr lang="ru-RU" dirty="0" smtClean="0"/>
              <a:t>в </a:t>
            </a:r>
            <a:r>
              <a:rPr lang="ru-RU" dirty="0"/>
              <a:t>год. Запишите формулу изменения площади </a:t>
            </a:r>
            <a:r>
              <a:rPr lang="ru-RU" dirty="0" smtClean="0"/>
              <a:t>лесов на </a:t>
            </a:r>
            <a:r>
              <a:rPr lang="ru-RU" dirty="0"/>
              <a:t>территории Южной Америки и Африки и с её помощью </a:t>
            </a:r>
            <a:r>
              <a:rPr lang="ru-RU" dirty="0" smtClean="0"/>
              <a:t>определите</a:t>
            </a:r>
            <a:r>
              <a:rPr lang="ru-RU" dirty="0"/>
              <a:t>, через сколько лет площадь лесов в Южной Америке </a:t>
            </a:r>
            <a:r>
              <a:rPr lang="ru-RU" dirty="0" smtClean="0"/>
              <a:t>и Африке </a:t>
            </a:r>
            <a:r>
              <a:rPr lang="ru-RU" dirty="0"/>
              <a:t>сократится на 20 %, если не будут предприняты </a:t>
            </a:r>
            <a:r>
              <a:rPr lang="ru-RU" dirty="0" smtClean="0"/>
              <a:t>усилия по </a:t>
            </a:r>
            <a:r>
              <a:rPr lang="ru-RU" dirty="0"/>
              <a:t>их восстановлению</a:t>
            </a:r>
            <a:r>
              <a:rPr lang="ru-RU" dirty="0" smtClean="0"/>
              <a:t>.</a:t>
            </a:r>
            <a:endParaRPr lang="ru-R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Прямоугольник 7"/>
              <p:cNvSpPr/>
              <p:nvPr/>
            </p:nvSpPr>
            <p:spPr>
              <a:xfrm>
                <a:off x="0" y="2650194"/>
                <a:ext cx="12139655" cy="279512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b="1" dirty="0" smtClean="0"/>
                  <a:t>Решение.</a:t>
                </a:r>
                <a:endParaRPr lang="ru-RU" b="1" dirty="0"/>
              </a:p>
              <a:p>
                <a:r>
                  <a:rPr lang="ru-RU" dirty="0" smtClean="0"/>
                  <a:t>Пусть площадь лесов за </a:t>
                </a:r>
                <a:r>
                  <a:rPr lang="en-US" dirty="0" smtClean="0"/>
                  <a:t>S</a:t>
                </a:r>
                <a:r>
                  <a:rPr lang="ru-RU" dirty="0" smtClean="0"/>
                  <a:t> км</a:t>
                </a:r>
                <a:r>
                  <a:rPr lang="ru-RU" baseline="30000" dirty="0" smtClean="0"/>
                  <a:t>2</a:t>
                </a:r>
                <a:r>
                  <a:rPr lang="ru-RU" dirty="0" smtClean="0"/>
                  <a:t>, количество лет, за которые сокращается площадь лесов  </a:t>
                </a:r>
                <a:r>
                  <a:rPr lang="en-US" dirty="0" smtClean="0"/>
                  <a:t>n</a:t>
                </a:r>
                <a:r>
                  <a:rPr lang="ru-RU" dirty="0" smtClean="0"/>
                  <a:t>.</a:t>
                </a:r>
              </a:p>
              <a:p>
                <a:r>
                  <a:rPr lang="ru-RU" dirty="0" smtClean="0"/>
                  <a:t>Формула изменения  площади лесов на территории Южной Америки и Африки:</a:t>
                </a:r>
              </a:p>
              <a:p>
                <a:pPr algn="ctr"/>
                <a:r>
                  <a:rPr lang="ru-RU" dirty="0" smtClean="0"/>
                  <a:t>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/>
                      </a:rPr>
                      <m:t>𝑆</m:t>
                    </m:r>
                    <m:r>
                      <a:rPr lang="en-US" b="0" i="1" smtClean="0">
                        <a:latin typeface="Cambria Math"/>
                      </a:rPr>
                      <m:t>−40000</m:t>
                    </m:r>
                    <m:r>
                      <a:rPr lang="en-US" b="0" i="1" smtClean="0">
                        <a:latin typeface="Cambria Math"/>
                      </a:rPr>
                      <m:t>𝑛</m:t>
                    </m:r>
                    <m:r>
                      <a:rPr lang="en-US" b="0" i="1" smtClean="0">
                        <a:latin typeface="Cambria Math"/>
                      </a:rPr>
                      <m:t>=0,8</m:t>
                    </m:r>
                    <m:r>
                      <a:rPr lang="en-US" b="0" i="1" smtClean="0">
                        <a:latin typeface="Cambria Math"/>
                      </a:rPr>
                      <m:t>𝑆</m:t>
                    </m:r>
                  </m:oMath>
                </a14:m>
                <a:endParaRPr lang="en-US" dirty="0" smtClean="0"/>
              </a:p>
              <a:p>
                <a:r>
                  <a:rPr lang="ru-RU" dirty="0" smtClean="0"/>
                  <a:t>Выразим количество лет через площадь: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>
                          <a:latin typeface="Cambria Math"/>
                        </a:rPr>
                        <m:t>𝑛</m:t>
                      </m:r>
                      <m:r>
                        <a:rPr lang="en-US" i="1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i="1" smtClean="0">
                              <a:latin typeface="Cambria Math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𝑆</m:t>
                          </m:r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200000</m:t>
                          </m:r>
                        </m:den>
                      </m:f>
                      <m:r>
                        <a:rPr lang="en-US" b="0" i="0" smtClean="0">
                          <a:latin typeface="Cambria Math"/>
                        </a:rPr>
                        <m:t>.</m:t>
                      </m:r>
                    </m:oMath>
                  </m:oMathPara>
                </a14:m>
                <a:endParaRPr lang="en-US" dirty="0" smtClean="0"/>
              </a:p>
              <a:p>
                <a:endParaRPr lang="ru-RU" i="1" dirty="0" smtClean="0">
                  <a:latin typeface="Cambria Math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i="1" smtClean="0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/>
                            </a:rPr>
                            <m:t>𝑛</m:t>
                          </m:r>
                        </m:e>
                        <m:sub>
                          <m:r>
                            <a:rPr lang="ru-RU" b="0" i="1" smtClean="0">
                              <a:latin typeface="Cambria Math"/>
                            </a:rPr>
                            <m:t>Ю.А.</m:t>
                          </m:r>
                        </m:sub>
                      </m:sSub>
                      <m:r>
                        <a:rPr lang="ru-RU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i="1">
                              <a:latin typeface="Cambria Math"/>
                            </a:rPr>
                          </m:ctrlPr>
                        </m:fPr>
                        <m:num>
                          <m:r>
                            <a:rPr lang="ru-RU" b="0" i="1" smtClean="0">
                              <a:latin typeface="Cambria Math"/>
                            </a:rPr>
                            <m:t>8600000</m:t>
                          </m:r>
                        </m:num>
                        <m:den>
                          <m:r>
                            <a:rPr lang="en-US" i="1">
                              <a:latin typeface="Cambria Math"/>
                            </a:rPr>
                            <m:t>200000</m:t>
                          </m:r>
                        </m:den>
                      </m:f>
                      <m:r>
                        <a:rPr lang="ru-RU" b="0" i="1" smtClean="0">
                          <a:latin typeface="Cambria Math"/>
                        </a:rPr>
                        <m:t>=43 </m:t>
                      </m:r>
                      <m:d>
                        <m:dPr>
                          <m:ctrlPr>
                            <a:rPr lang="ru-RU" b="0" i="1" smtClean="0">
                              <a:latin typeface="Cambria Math"/>
                            </a:rPr>
                          </m:ctrlPr>
                        </m:dPr>
                        <m:e>
                          <m:r>
                            <a:rPr lang="ru-RU" b="0" i="1" smtClean="0">
                              <a:latin typeface="Cambria Math"/>
                            </a:rPr>
                            <m:t>года</m:t>
                          </m:r>
                        </m:e>
                      </m:d>
                      <m:r>
                        <a:rPr lang="ru-RU" b="0" i="1" smtClean="0">
                          <a:latin typeface="Cambria Math"/>
                        </a:rPr>
                        <m:t>;</m:t>
                      </m:r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8" name="Прямоугольник 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2650194"/>
                <a:ext cx="12139655" cy="2795124"/>
              </a:xfrm>
              <a:prstGeom prst="rect">
                <a:avLst/>
              </a:prstGeom>
              <a:blipFill rotWithShape="1">
                <a:blip r:embed="rId4"/>
                <a:stretch>
                  <a:fillRect l="-402" t="-1092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959882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5</a:t>
            </a:fld>
            <a:endParaRPr lang="ru-RU" dirty="0"/>
          </a:p>
        </p:txBody>
      </p:sp>
      <p:sp>
        <p:nvSpPr>
          <p:cNvPr id="34" name="TextBox 33"/>
          <p:cNvSpPr txBox="1"/>
          <p:nvPr/>
        </p:nvSpPr>
        <p:spPr>
          <a:xfrm>
            <a:off x="192106" y="224272"/>
            <a:ext cx="10509189" cy="409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8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Серия «Функциональная Грамотность</a:t>
            </a: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. Тренажёры»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35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75029" y="6697029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rgbClr val="002060"/>
                </a:solidFill>
              </a:rPr>
              <a:t>© АО «Издательство «Просвещение» </a:t>
            </a:r>
            <a:r>
              <a:rPr lang="ru-RU" sz="700" dirty="0" smtClean="0">
                <a:solidFill>
                  <a:srgbClr val="002060"/>
                </a:solidFill>
              </a:rPr>
              <a:t>2020</a:t>
            </a:r>
            <a:endParaRPr lang="ru-RU" sz="700" dirty="0">
              <a:solidFill>
                <a:srgbClr val="002060"/>
              </a:solidFill>
            </a:endParaRPr>
          </a:p>
        </p:txBody>
      </p:sp>
      <p:pic>
        <p:nvPicPr>
          <p:cNvPr id="1054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793" y="814225"/>
            <a:ext cx="1638300" cy="31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0" y="1172866"/>
            <a:ext cx="1213965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/>
              <a:t>Вопрос </a:t>
            </a:r>
            <a:r>
              <a:rPr lang="ru-RU" b="1" dirty="0" smtClean="0"/>
              <a:t>3</a:t>
            </a:r>
            <a:endParaRPr lang="ru-RU" b="1" dirty="0"/>
          </a:p>
          <a:p>
            <a:r>
              <a:rPr lang="ru-RU" dirty="0"/>
              <a:t>Известно, что в Южной Америке леса занимают 8,6 млн </a:t>
            </a:r>
            <a:r>
              <a:rPr lang="ru-RU" dirty="0" smtClean="0"/>
              <a:t>км</a:t>
            </a:r>
            <a:r>
              <a:rPr lang="ru-RU" baseline="30000" dirty="0" smtClean="0"/>
              <a:t>2</a:t>
            </a:r>
            <a:r>
              <a:rPr lang="ru-RU" dirty="0" smtClean="0"/>
              <a:t>, а </a:t>
            </a:r>
            <a:r>
              <a:rPr lang="ru-RU" dirty="0"/>
              <a:t>в Африке — 6,7 млн </a:t>
            </a:r>
            <a:r>
              <a:rPr lang="ru-RU" dirty="0" smtClean="0"/>
              <a:t>км</a:t>
            </a:r>
            <a:r>
              <a:rPr lang="ru-RU" baseline="30000" dirty="0" smtClean="0"/>
              <a:t>2</a:t>
            </a:r>
            <a:r>
              <a:rPr lang="ru-RU" dirty="0" smtClean="0"/>
              <a:t>. </a:t>
            </a:r>
            <a:r>
              <a:rPr lang="ru-RU" dirty="0"/>
              <a:t>Площадь лесов в этих регионах </a:t>
            </a:r>
            <a:r>
              <a:rPr lang="ru-RU" dirty="0" smtClean="0"/>
              <a:t>постоянно </a:t>
            </a:r>
            <a:r>
              <a:rPr lang="ru-RU" dirty="0"/>
              <a:t>сокращается, по оценкам специалистов, примерно </a:t>
            </a:r>
            <a:r>
              <a:rPr lang="ru-RU" dirty="0" smtClean="0"/>
              <a:t>на 40 </a:t>
            </a:r>
            <a:r>
              <a:rPr lang="ru-RU" dirty="0"/>
              <a:t>000 </a:t>
            </a:r>
            <a:r>
              <a:rPr lang="ru-RU" dirty="0" smtClean="0"/>
              <a:t>км</a:t>
            </a:r>
            <a:r>
              <a:rPr lang="ru-RU" baseline="30000" dirty="0" smtClean="0"/>
              <a:t>2 </a:t>
            </a:r>
            <a:r>
              <a:rPr lang="ru-RU" dirty="0" smtClean="0"/>
              <a:t>в </a:t>
            </a:r>
            <a:r>
              <a:rPr lang="ru-RU" dirty="0"/>
              <a:t>год. Запишите формулу изменения площади </a:t>
            </a:r>
            <a:r>
              <a:rPr lang="ru-RU" dirty="0" smtClean="0"/>
              <a:t>лесов на </a:t>
            </a:r>
            <a:r>
              <a:rPr lang="ru-RU" dirty="0"/>
              <a:t>территории Южной Америки и Африки и с её помощью </a:t>
            </a:r>
            <a:r>
              <a:rPr lang="ru-RU" dirty="0" smtClean="0"/>
              <a:t>определите</a:t>
            </a:r>
            <a:r>
              <a:rPr lang="ru-RU" dirty="0"/>
              <a:t>, через сколько лет площадь лесов в Южной Америке </a:t>
            </a:r>
            <a:r>
              <a:rPr lang="ru-RU" dirty="0" smtClean="0"/>
              <a:t>и Африке </a:t>
            </a:r>
            <a:r>
              <a:rPr lang="ru-RU" dirty="0"/>
              <a:t>сократится на 20 %, если не будут предприняты </a:t>
            </a:r>
            <a:r>
              <a:rPr lang="ru-RU" dirty="0" smtClean="0"/>
              <a:t>усилия по </a:t>
            </a:r>
            <a:r>
              <a:rPr lang="ru-RU" dirty="0"/>
              <a:t>их восстановлению</a:t>
            </a:r>
            <a:r>
              <a:rPr lang="ru-RU" dirty="0" smtClean="0"/>
              <a:t>.</a:t>
            </a:r>
            <a:endParaRPr lang="ru-R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Прямоугольник 7"/>
              <p:cNvSpPr/>
              <p:nvPr/>
            </p:nvSpPr>
            <p:spPr>
              <a:xfrm>
                <a:off x="0" y="2650194"/>
                <a:ext cx="12139655" cy="386952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b="1" dirty="0" smtClean="0"/>
                  <a:t>Решение.</a:t>
                </a:r>
                <a:endParaRPr lang="ru-RU" b="1" dirty="0"/>
              </a:p>
              <a:p>
                <a:r>
                  <a:rPr lang="ru-RU" dirty="0" smtClean="0"/>
                  <a:t>Пусть площадь лесов за </a:t>
                </a:r>
                <a:r>
                  <a:rPr lang="en-US" dirty="0" smtClean="0"/>
                  <a:t>S</a:t>
                </a:r>
                <a:r>
                  <a:rPr lang="ru-RU" dirty="0" smtClean="0"/>
                  <a:t> км</a:t>
                </a:r>
                <a:r>
                  <a:rPr lang="ru-RU" baseline="30000" dirty="0" smtClean="0"/>
                  <a:t>2</a:t>
                </a:r>
                <a:r>
                  <a:rPr lang="ru-RU" dirty="0" smtClean="0"/>
                  <a:t>, количество лет, за которые сокращается площадь лесов  </a:t>
                </a:r>
                <a:r>
                  <a:rPr lang="en-US" dirty="0" smtClean="0"/>
                  <a:t>n</a:t>
                </a:r>
                <a:r>
                  <a:rPr lang="ru-RU" dirty="0" smtClean="0"/>
                  <a:t>.</a:t>
                </a:r>
              </a:p>
              <a:p>
                <a:r>
                  <a:rPr lang="ru-RU" dirty="0" smtClean="0"/>
                  <a:t>Формула изменения  площади лесов на территории Южной Америки и Африки:</a:t>
                </a:r>
              </a:p>
              <a:p>
                <a:pPr algn="ctr"/>
                <a:r>
                  <a:rPr lang="ru-RU" dirty="0" smtClean="0"/>
                  <a:t>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/>
                      </a:rPr>
                      <m:t>𝑆</m:t>
                    </m:r>
                    <m:r>
                      <a:rPr lang="en-US" b="0" i="1" smtClean="0">
                        <a:latin typeface="Cambria Math"/>
                      </a:rPr>
                      <m:t>−40000</m:t>
                    </m:r>
                    <m:r>
                      <a:rPr lang="en-US" b="0" i="1" smtClean="0">
                        <a:latin typeface="Cambria Math"/>
                      </a:rPr>
                      <m:t>𝑛</m:t>
                    </m:r>
                    <m:r>
                      <a:rPr lang="en-US" b="0" i="1" smtClean="0">
                        <a:latin typeface="Cambria Math"/>
                      </a:rPr>
                      <m:t>=0,8</m:t>
                    </m:r>
                    <m:r>
                      <a:rPr lang="en-US" b="0" i="1" smtClean="0">
                        <a:latin typeface="Cambria Math"/>
                      </a:rPr>
                      <m:t>𝑆</m:t>
                    </m:r>
                  </m:oMath>
                </a14:m>
                <a:endParaRPr lang="en-US" dirty="0" smtClean="0"/>
              </a:p>
              <a:p>
                <a:r>
                  <a:rPr lang="ru-RU" dirty="0" smtClean="0"/>
                  <a:t>Выразим количество лет через площадь: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>
                          <a:latin typeface="Cambria Math"/>
                        </a:rPr>
                        <m:t>𝑛</m:t>
                      </m:r>
                      <m:r>
                        <a:rPr lang="en-US" i="1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i="1" smtClean="0">
                              <a:latin typeface="Cambria Math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𝑆</m:t>
                          </m:r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200000</m:t>
                          </m:r>
                        </m:den>
                      </m:f>
                      <m:r>
                        <a:rPr lang="en-US" b="0" i="0" smtClean="0">
                          <a:latin typeface="Cambria Math"/>
                        </a:rPr>
                        <m:t>.</m:t>
                      </m:r>
                    </m:oMath>
                  </m:oMathPara>
                </a14:m>
                <a:endParaRPr lang="en-US" dirty="0" smtClean="0"/>
              </a:p>
              <a:p>
                <a:endParaRPr lang="ru-RU" i="1" dirty="0" smtClean="0">
                  <a:latin typeface="Cambria Math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i="1" smtClean="0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/>
                            </a:rPr>
                            <m:t>𝑛</m:t>
                          </m:r>
                        </m:e>
                        <m:sub>
                          <m:r>
                            <a:rPr lang="ru-RU" b="0" i="1" smtClean="0">
                              <a:latin typeface="Cambria Math"/>
                            </a:rPr>
                            <m:t>Ю.А.</m:t>
                          </m:r>
                        </m:sub>
                      </m:sSub>
                      <m:r>
                        <a:rPr lang="ru-RU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i="1">
                              <a:latin typeface="Cambria Math"/>
                            </a:rPr>
                          </m:ctrlPr>
                        </m:fPr>
                        <m:num>
                          <m:r>
                            <a:rPr lang="ru-RU" b="0" i="1" smtClean="0">
                              <a:latin typeface="Cambria Math"/>
                            </a:rPr>
                            <m:t>8600000</m:t>
                          </m:r>
                        </m:num>
                        <m:den>
                          <m:r>
                            <a:rPr lang="en-US" i="1">
                              <a:latin typeface="Cambria Math"/>
                            </a:rPr>
                            <m:t>200000</m:t>
                          </m:r>
                        </m:den>
                      </m:f>
                      <m:r>
                        <a:rPr lang="ru-RU" b="0" i="1" smtClean="0">
                          <a:latin typeface="Cambria Math"/>
                        </a:rPr>
                        <m:t>=43 </m:t>
                      </m:r>
                      <m:d>
                        <m:dPr>
                          <m:ctrlPr>
                            <a:rPr lang="ru-RU" b="0" i="1" smtClean="0">
                              <a:latin typeface="Cambria Math"/>
                            </a:rPr>
                          </m:ctrlPr>
                        </m:dPr>
                        <m:e>
                          <m:r>
                            <a:rPr lang="ru-RU" b="0" i="1" smtClean="0">
                              <a:latin typeface="Cambria Math"/>
                            </a:rPr>
                            <m:t>года</m:t>
                          </m:r>
                        </m:e>
                      </m:d>
                      <m:r>
                        <a:rPr lang="ru-RU" b="0" i="1" smtClean="0">
                          <a:latin typeface="Cambria Math"/>
                        </a:rPr>
                        <m:t>;</m:t>
                      </m:r>
                    </m:oMath>
                  </m:oMathPara>
                </a14:m>
                <a:endParaRPr lang="ru-RU" dirty="0" smtClean="0"/>
              </a:p>
              <a:p>
                <a:endParaRPr lang="ru-RU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i="1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</a:rPr>
                            <m:t>𝑛</m:t>
                          </m:r>
                        </m:e>
                        <m:sub>
                          <m:r>
                            <a:rPr lang="ru-RU" b="0" i="1" smtClean="0">
                              <a:latin typeface="Cambria Math"/>
                            </a:rPr>
                            <m:t>Африки</m:t>
                          </m:r>
                        </m:sub>
                      </m:sSub>
                      <m:r>
                        <a:rPr lang="ru-RU" i="1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i="1">
                              <a:latin typeface="Cambria Math"/>
                            </a:rPr>
                          </m:ctrlPr>
                        </m:fPr>
                        <m:num>
                          <m:r>
                            <a:rPr lang="ru-RU" b="0" i="1" smtClean="0">
                              <a:latin typeface="Cambria Math"/>
                            </a:rPr>
                            <m:t>67</m:t>
                          </m:r>
                          <m:r>
                            <a:rPr lang="ru-RU" i="1">
                              <a:latin typeface="Cambria Math"/>
                            </a:rPr>
                            <m:t>00000</m:t>
                          </m:r>
                        </m:num>
                        <m:den>
                          <m:r>
                            <a:rPr lang="en-US" i="1">
                              <a:latin typeface="Cambria Math"/>
                            </a:rPr>
                            <m:t>200000</m:t>
                          </m:r>
                        </m:den>
                      </m:f>
                      <m:r>
                        <a:rPr lang="ru-RU" i="1">
                          <a:latin typeface="Cambria Math"/>
                        </a:rPr>
                        <m:t>=</m:t>
                      </m:r>
                      <m:r>
                        <a:rPr lang="ru-RU" b="0" i="1" smtClean="0">
                          <a:latin typeface="Cambria Math"/>
                        </a:rPr>
                        <m:t>33,5</m:t>
                      </m:r>
                      <m:r>
                        <a:rPr lang="ru-RU" i="1">
                          <a:latin typeface="Cambria Math"/>
                        </a:rPr>
                        <m:t> </m:t>
                      </m:r>
                      <m:d>
                        <m:dPr>
                          <m:ctrlPr>
                            <a:rPr lang="ru-RU" i="1">
                              <a:latin typeface="Cambria Math"/>
                            </a:rPr>
                          </m:ctrlPr>
                        </m:dPr>
                        <m:e>
                          <m:r>
                            <a:rPr lang="ru-RU" i="1">
                              <a:latin typeface="Cambria Math"/>
                            </a:rPr>
                            <m:t>года</m:t>
                          </m:r>
                        </m:e>
                      </m:d>
                      <m:r>
                        <a:rPr lang="ru-RU" b="0" i="1" smtClean="0">
                          <a:latin typeface="Cambria Math"/>
                        </a:rPr>
                        <m:t>.</m:t>
                      </m:r>
                    </m:oMath>
                  </m:oMathPara>
                </a14:m>
                <a:endParaRPr lang="ru-RU" dirty="0"/>
              </a:p>
              <a:p>
                <a:endParaRPr lang="ru-RU" dirty="0"/>
              </a:p>
            </p:txBody>
          </p:sp>
        </mc:Choice>
        <mc:Fallback xmlns="">
          <p:sp>
            <p:nvSpPr>
              <p:cNvPr id="8" name="Прямоугольник 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2650194"/>
                <a:ext cx="12139655" cy="3869521"/>
              </a:xfrm>
              <a:prstGeom prst="rect">
                <a:avLst/>
              </a:prstGeom>
              <a:blipFill rotWithShape="1">
                <a:blip r:embed="rId4"/>
                <a:stretch>
                  <a:fillRect l="-402" t="-787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2591996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6</a:t>
            </a:fld>
            <a:endParaRPr lang="ru-RU" dirty="0"/>
          </a:p>
        </p:txBody>
      </p:sp>
      <p:sp>
        <p:nvSpPr>
          <p:cNvPr id="34" name="TextBox 33"/>
          <p:cNvSpPr txBox="1"/>
          <p:nvPr/>
        </p:nvSpPr>
        <p:spPr>
          <a:xfrm>
            <a:off x="192106" y="224272"/>
            <a:ext cx="10509189" cy="409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8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Серия «Функциональная Грамотность</a:t>
            </a: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. Тренажёры»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35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75029" y="6697029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rgbClr val="002060"/>
                </a:solidFill>
              </a:rPr>
              <a:t>© АО «Издательство «Просвещение» </a:t>
            </a:r>
            <a:r>
              <a:rPr lang="ru-RU" sz="700" dirty="0" smtClean="0">
                <a:solidFill>
                  <a:srgbClr val="002060"/>
                </a:solidFill>
              </a:rPr>
              <a:t>2020</a:t>
            </a:r>
            <a:endParaRPr lang="ru-RU" sz="700" dirty="0">
              <a:solidFill>
                <a:srgbClr val="002060"/>
              </a:solidFill>
            </a:endParaRPr>
          </a:p>
        </p:txBody>
      </p:sp>
      <p:pic>
        <p:nvPicPr>
          <p:cNvPr id="1054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793" y="814225"/>
            <a:ext cx="1638300" cy="31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0" y="1172866"/>
            <a:ext cx="1213965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/>
              <a:t>Вопрос </a:t>
            </a:r>
            <a:r>
              <a:rPr lang="ru-RU" b="1" dirty="0" smtClean="0"/>
              <a:t>3</a:t>
            </a:r>
            <a:endParaRPr lang="ru-RU" b="1" dirty="0"/>
          </a:p>
          <a:p>
            <a:r>
              <a:rPr lang="ru-RU" dirty="0"/>
              <a:t>Известно, что в Южной Америке леса занимают 8,6 млн </a:t>
            </a:r>
            <a:r>
              <a:rPr lang="ru-RU" dirty="0" smtClean="0"/>
              <a:t>км</a:t>
            </a:r>
            <a:r>
              <a:rPr lang="ru-RU" baseline="30000" dirty="0" smtClean="0"/>
              <a:t>2</a:t>
            </a:r>
            <a:r>
              <a:rPr lang="ru-RU" dirty="0" smtClean="0"/>
              <a:t>, а </a:t>
            </a:r>
            <a:r>
              <a:rPr lang="ru-RU" dirty="0"/>
              <a:t>в Африке — 6,7 млн </a:t>
            </a:r>
            <a:r>
              <a:rPr lang="ru-RU" dirty="0" smtClean="0"/>
              <a:t>км</a:t>
            </a:r>
            <a:r>
              <a:rPr lang="ru-RU" baseline="30000" dirty="0" smtClean="0"/>
              <a:t>2</a:t>
            </a:r>
            <a:r>
              <a:rPr lang="ru-RU" dirty="0" smtClean="0"/>
              <a:t>. </a:t>
            </a:r>
            <a:r>
              <a:rPr lang="ru-RU" dirty="0"/>
              <a:t>Площадь лесов в этих регионах </a:t>
            </a:r>
            <a:r>
              <a:rPr lang="ru-RU" dirty="0" smtClean="0"/>
              <a:t>постоянно </a:t>
            </a:r>
            <a:r>
              <a:rPr lang="ru-RU" dirty="0"/>
              <a:t>сокращается, по оценкам специалистов, примерно </a:t>
            </a:r>
            <a:r>
              <a:rPr lang="ru-RU" dirty="0" smtClean="0"/>
              <a:t>на 40 </a:t>
            </a:r>
            <a:r>
              <a:rPr lang="ru-RU" dirty="0"/>
              <a:t>000 </a:t>
            </a:r>
            <a:r>
              <a:rPr lang="ru-RU" dirty="0" smtClean="0"/>
              <a:t>км</a:t>
            </a:r>
            <a:r>
              <a:rPr lang="ru-RU" baseline="30000" dirty="0" smtClean="0"/>
              <a:t>2 </a:t>
            </a:r>
            <a:r>
              <a:rPr lang="ru-RU" dirty="0" smtClean="0"/>
              <a:t>в </a:t>
            </a:r>
            <a:r>
              <a:rPr lang="ru-RU" dirty="0"/>
              <a:t>год. Запишите формулу изменения площади </a:t>
            </a:r>
            <a:r>
              <a:rPr lang="ru-RU" dirty="0" smtClean="0"/>
              <a:t>лесов на </a:t>
            </a:r>
            <a:r>
              <a:rPr lang="ru-RU" dirty="0"/>
              <a:t>территории Южной Америки и Африки и с её помощью </a:t>
            </a:r>
            <a:r>
              <a:rPr lang="ru-RU" dirty="0" smtClean="0"/>
              <a:t>определите</a:t>
            </a:r>
            <a:r>
              <a:rPr lang="ru-RU" dirty="0"/>
              <a:t>, через сколько лет площадь лесов в Южной Америке </a:t>
            </a:r>
            <a:r>
              <a:rPr lang="ru-RU" dirty="0" smtClean="0"/>
              <a:t>и Африке </a:t>
            </a:r>
            <a:r>
              <a:rPr lang="ru-RU" dirty="0"/>
              <a:t>сократится на 20 %, если не будут предприняты </a:t>
            </a:r>
            <a:r>
              <a:rPr lang="ru-RU" dirty="0" smtClean="0"/>
              <a:t>усилия по </a:t>
            </a:r>
            <a:r>
              <a:rPr lang="ru-RU" dirty="0"/>
              <a:t>их восстановлению</a:t>
            </a:r>
            <a:r>
              <a:rPr lang="ru-RU" dirty="0" smtClean="0"/>
              <a:t>.</a:t>
            </a:r>
            <a:endParaRPr lang="ru-R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Прямоугольник 7"/>
              <p:cNvSpPr/>
              <p:nvPr/>
            </p:nvSpPr>
            <p:spPr>
              <a:xfrm>
                <a:off x="0" y="2650194"/>
                <a:ext cx="12139655" cy="386952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b="1" dirty="0" smtClean="0"/>
                  <a:t>Решение.</a:t>
                </a:r>
                <a:endParaRPr lang="ru-RU" b="1" dirty="0"/>
              </a:p>
              <a:p>
                <a:r>
                  <a:rPr lang="ru-RU" dirty="0" smtClean="0"/>
                  <a:t>Пусть площадь лесов за </a:t>
                </a:r>
                <a:r>
                  <a:rPr lang="en-US" dirty="0" smtClean="0"/>
                  <a:t>S</a:t>
                </a:r>
                <a:r>
                  <a:rPr lang="ru-RU" dirty="0" smtClean="0"/>
                  <a:t> км</a:t>
                </a:r>
                <a:r>
                  <a:rPr lang="ru-RU" baseline="30000" dirty="0" smtClean="0"/>
                  <a:t>2</a:t>
                </a:r>
                <a:r>
                  <a:rPr lang="ru-RU" dirty="0" smtClean="0"/>
                  <a:t>, количество лет, за которые сокращается площадь лесов  </a:t>
                </a:r>
                <a:r>
                  <a:rPr lang="en-US" dirty="0" smtClean="0"/>
                  <a:t>n</a:t>
                </a:r>
                <a:r>
                  <a:rPr lang="ru-RU" dirty="0" smtClean="0"/>
                  <a:t>.</a:t>
                </a:r>
              </a:p>
              <a:p>
                <a:r>
                  <a:rPr lang="ru-RU" dirty="0" smtClean="0"/>
                  <a:t>Формула изменения  площади лесов на территории Южной Америки и Африки:</a:t>
                </a:r>
              </a:p>
              <a:p>
                <a:pPr algn="ctr"/>
                <a:r>
                  <a:rPr lang="ru-RU" dirty="0" smtClean="0"/>
                  <a:t>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/>
                      </a:rPr>
                      <m:t>𝑆</m:t>
                    </m:r>
                    <m:r>
                      <a:rPr lang="en-US" b="0" i="1" smtClean="0">
                        <a:latin typeface="Cambria Math"/>
                      </a:rPr>
                      <m:t>−40000</m:t>
                    </m:r>
                    <m:r>
                      <a:rPr lang="en-US" b="0" i="1" smtClean="0">
                        <a:latin typeface="Cambria Math"/>
                      </a:rPr>
                      <m:t>𝑛</m:t>
                    </m:r>
                    <m:r>
                      <a:rPr lang="en-US" b="0" i="1" smtClean="0">
                        <a:latin typeface="Cambria Math"/>
                      </a:rPr>
                      <m:t>=0,8</m:t>
                    </m:r>
                    <m:r>
                      <a:rPr lang="en-US" b="0" i="1" smtClean="0">
                        <a:latin typeface="Cambria Math"/>
                      </a:rPr>
                      <m:t>𝑆</m:t>
                    </m:r>
                  </m:oMath>
                </a14:m>
                <a:endParaRPr lang="en-US" dirty="0" smtClean="0"/>
              </a:p>
              <a:p>
                <a:r>
                  <a:rPr lang="ru-RU" dirty="0" smtClean="0"/>
                  <a:t>Выразим количество лет через площадь: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>
                          <a:latin typeface="Cambria Math"/>
                        </a:rPr>
                        <m:t>𝑛</m:t>
                      </m:r>
                      <m:r>
                        <a:rPr lang="en-US" i="1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i="1" smtClean="0">
                              <a:latin typeface="Cambria Math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𝑆</m:t>
                          </m:r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200000</m:t>
                          </m:r>
                        </m:den>
                      </m:f>
                      <m:r>
                        <a:rPr lang="en-US" b="0" i="0" smtClean="0">
                          <a:latin typeface="Cambria Math"/>
                        </a:rPr>
                        <m:t>.</m:t>
                      </m:r>
                    </m:oMath>
                  </m:oMathPara>
                </a14:m>
                <a:endParaRPr lang="en-US" dirty="0" smtClean="0"/>
              </a:p>
              <a:p>
                <a:endParaRPr lang="ru-RU" i="1" dirty="0" smtClean="0">
                  <a:latin typeface="Cambria Math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i="1" smtClean="0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/>
                            </a:rPr>
                            <m:t>𝑛</m:t>
                          </m:r>
                        </m:e>
                        <m:sub>
                          <m:r>
                            <a:rPr lang="ru-RU" b="0" i="1" smtClean="0">
                              <a:latin typeface="Cambria Math"/>
                            </a:rPr>
                            <m:t>Ю.А.</m:t>
                          </m:r>
                        </m:sub>
                      </m:sSub>
                      <m:r>
                        <a:rPr lang="ru-RU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i="1">
                              <a:latin typeface="Cambria Math"/>
                            </a:rPr>
                          </m:ctrlPr>
                        </m:fPr>
                        <m:num>
                          <m:r>
                            <a:rPr lang="ru-RU" b="0" i="1" smtClean="0">
                              <a:latin typeface="Cambria Math"/>
                            </a:rPr>
                            <m:t>8600000</m:t>
                          </m:r>
                        </m:num>
                        <m:den>
                          <m:r>
                            <a:rPr lang="en-US" i="1">
                              <a:latin typeface="Cambria Math"/>
                            </a:rPr>
                            <m:t>200000</m:t>
                          </m:r>
                        </m:den>
                      </m:f>
                      <m:r>
                        <a:rPr lang="ru-RU" b="0" i="1" smtClean="0">
                          <a:latin typeface="Cambria Math"/>
                        </a:rPr>
                        <m:t>=43 </m:t>
                      </m:r>
                      <m:d>
                        <m:dPr>
                          <m:ctrlPr>
                            <a:rPr lang="ru-RU" b="0" i="1" smtClean="0">
                              <a:latin typeface="Cambria Math"/>
                            </a:rPr>
                          </m:ctrlPr>
                        </m:dPr>
                        <m:e>
                          <m:r>
                            <a:rPr lang="ru-RU" b="0" i="1" smtClean="0">
                              <a:latin typeface="Cambria Math"/>
                            </a:rPr>
                            <m:t>года</m:t>
                          </m:r>
                        </m:e>
                      </m:d>
                      <m:r>
                        <a:rPr lang="ru-RU" b="0" i="1" smtClean="0">
                          <a:latin typeface="Cambria Math"/>
                        </a:rPr>
                        <m:t>;</m:t>
                      </m:r>
                    </m:oMath>
                  </m:oMathPara>
                </a14:m>
                <a:endParaRPr lang="ru-RU" dirty="0" smtClean="0"/>
              </a:p>
              <a:p>
                <a:endParaRPr lang="ru-RU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i="1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</a:rPr>
                            <m:t>𝑛</m:t>
                          </m:r>
                        </m:e>
                        <m:sub>
                          <m:r>
                            <a:rPr lang="ru-RU" b="0" i="1" smtClean="0">
                              <a:latin typeface="Cambria Math"/>
                            </a:rPr>
                            <m:t>Африки</m:t>
                          </m:r>
                        </m:sub>
                      </m:sSub>
                      <m:r>
                        <a:rPr lang="ru-RU" i="1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i="1">
                              <a:latin typeface="Cambria Math"/>
                            </a:rPr>
                          </m:ctrlPr>
                        </m:fPr>
                        <m:num>
                          <m:r>
                            <a:rPr lang="ru-RU" b="0" i="1" smtClean="0">
                              <a:latin typeface="Cambria Math"/>
                            </a:rPr>
                            <m:t>67</m:t>
                          </m:r>
                          <m:r>
                            <a:rPr lang="ru-RU" i="1">
                              <a:latin typeface="Cambria Math"/>
                            </a:rPr>
                            <m:t>00000</m:t>
                          </m:r>
                        </m:num>
                        <m:den>
                          <m:r>
                            <a:rPr lang="en-US" i="1">
                              <a:latin typeface="Cambria Math"/>
                            </a:rPr>
                            <m:t>200000</m:t>
                          </m:r>
                        </m:den>
                      </m:f>
                      <m:r>
                        <a:rPr lang="ru-RU" i="1">
                          <a:latin typeface="Cambria Math"/>
                        </a:rPr>
                        <m:t>=</m:t>
                      </m:r>
                      <m:r>
                        <a:rPr lang="ru-RU" b="0" i="1" smtClean="0">
                          <a:latin typeface="Cambria Math"/>
                        </a:rPr>
                        <m:t>33,5</m:t>
                      </m:r>
                      <m:r>
                        <a:rPr lang="ru-RU" i="1">
                          <a:latin typeface="Cambria Math"/>
                        </a:rPr>
                        <m:t> </m:t>
                      </m:r>
                      <m:d>
                        <m:dPr>
                          <m:ctrlPr>
                            <a:rPr lang="ru-RU" i="1">
                              <a:latin typeface="Cambria Math"/>
                            </a:rPr>
                          </m:ctrlPr>
                        </m:dPr>
                        <m:e>
                          <m:r>
                            <a:rPr lang="ru-RU" i="1">
                              <a:latin typeface="Cambria Math"/>
                            </a:rPr>
                            <m:t>года</m:t>
                          </m:r>
                        </m:e>
                      </m:d>
                      <m:r>
                        <a:rPr lang="ru-RU" b="0" i="1" smtClean="0">
                          <a:latin typeface="Cambria Math"/>
                        </a:rPr>
                        <m:t>.</m:t>
                      </m:r>
                    </m:oMath>
                  </m:oMathPara>
                </a14:m>
                <a:endParaRPr lang="ru-RU" dirty="0"/>
              </a:p>
              <a:p>
                <a:endParaRPr lang="ru-RU" dirty="0"/>
              </a:p>
            </p:txBody>
          </p:sp>
        </mc:Choice>
        <mc:Fallback xmlns="">
          <p:sp>
            <p:nvSpPr>
              <p:cNvPr id="8" name="Прямоугольник 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2650194"/>
                <a:ext cx="12139655" cy="3869521"/>
              </a:xfrm>
              <a:prstGeom prst="rect">
                <a:avLst/>
              </a:prstGeom>
              <a:blipFill rotWithShape="1">
                <a:blip r:embed="rId4"/>
                <a:stretch>
                  <a:fillRect l="-402" t="-787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Прямоугольник 8"/>
          <p:cNvSpPr/>
          <p:nvPr/>
        </p:nvSpPr>
        <p:spPr>
          <a:xfrm>
            <a:off x="2410090" y="6323864"/>
            <a:ext cx="26459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/>
              <a:t>Ответ: </a:t>
            </a:r>
            <a:r>
              <a:rPr lang="ru-RU" dirty="0" smtClean="0"/>
              <a:t>43 года, 33,5 года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7136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7</a:t>
            </a:fld>
            <a:endParaRPr lang="ru-RU" dirty="0"/>
          </a:p>
        </p:txBody>
      </p:sp>
      <p:sp>
        <p:nvSpPr>
          <p:cNvPr id="34" name="TextBox 33"/>
          <p:cNvSpPr txBox="1"/>
          <p:nvPr/>
        </p:nvSpPr>
        <p:spPr>
          <a:xfrm>
            <a:off x="192106" y="224272"/>
            <a:ext cx="10509189" cy="409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8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Серия «Функциональная Грамотность</a:t>
            </a: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. Тренажёры»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35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75029" y="6697029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rgbClr val="002060"/>
                </a:solidFill>
              </a:rPr>
              <a:t>© АО «Издательство «Просвещение» </a:t>
            </a:r>
            <a:r>
              <a:rPr lang="ru-RU" sz="700" dirty="0" smtClean="0">
                <a:solidFill>
                  <a:srgbClr val="002060"/>
                </a:solidFill>
              </a:rPr>
              <a:t>2020</a:t>
            </a:r>
            <a:endParaRPr lang="ru-RU" sz="700" dirty="0">
              <a:solidFill>
                <a:srgbClr val="002060"/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290" y="823750"/>
            <a:ext cx="2209800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192106" y="1119025"/>
            <a:ext cx="11809740" cy="21852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700" dirty="0">
                <a:latin typeface="Arial" panose="020B0604020202020204" pitchFamily="34" charset="0"/>
                <a:cs typeface="Arial" panose="020B0604020202020204" pitchFamily="34" charset="0"/>
              </a:rPr>
              <a:t>Школьники под руководством учителя литературы подали </a:t>
            </a:r>
            <a:r>
              <a:rPr lang="ru-RU" sz="1700" dirty="0" smtClean="0">
                <a:latin typeface="Arial" panose="020B0604020202020204" pitchFamily="34" charset="0"/>
                <a:cs typeface="Arial" panose="020B0604020202020204" pitchFamily="34" charset="0"/>
              </a:rPr>
              <a:t>заявку </a:t>
            </a:r>
            <a:r>
              <a:rPr lang="ru-RU" sz="1700" dirty="0">
                <a:latin typeface="Arial" panose="020B0604020202020204" pitchFamily="34" charset="0"/>
                <a:cs typeface="Arial" panose="020B0604020202020204" pitchFamily="34" charset="0"/>
              </a:rPr>
              <a:t>на получение гранта городской мэрии на развитие </a:t>
            </a:r>
            <a:r>
              <a:rPr lang="ru-RU" sz="1700" dirty="0" smtClean="0">
                <a:latin typeface="Arial" panose="020B0604020202020204" pitchFamily="34" charset="0"/>
                <a:cs typeface="Arial" panose="020B0604020202020204" pitchFamily="34" charset="0"/>
              </a:rPr>
              <a:t>школьной библиотеки</a:t>
            </a:r>
            <a:r>
              <a:rPr lang="ru-RU" sz="1700" dirty="0">
                <a:latin typeface="Arial" panose="020B0604020202020204" pitchFamily="34" charset="0"/>
                <a:cs typeface="Arial" panose="020B0604020202020204" pitchFamily="34" charset="0"/>
              </a:rPr>
              <a:t>. В заявке были предусмотрены не только закупка </a:t>
            </a:r>
            <a:r>
              <a:rPr lang="ru-RU" sz="1700" dirty="0" smtClean="0">
                <a:latin typeface="Arial" panose="020B0604020202020204" pitchFamily="34" charset="0"/>
                <a:cs typeface="Arial" panose="020B0604020202020204" pitchFamily="34" charset="0"/>
              </a:rPr>
              <a:t>художественной </a:t>
            </a:r>
            <a:r>
              <a:rPr lang="ru-RU" sz="1700" dirty="0">
                <a:latin typeface="Arial" panose="020B0604020202020204" pitchFamily="34" charset="0"/>
                <a:cs typeface="Arial" panose="020B0604020202020204" pitchFamily="34" charset="0"/>
              </a:rPr>
              <a:t>литературы и электронных учебников, но и </a:t>
            </a:r>
            <a:r>
              <a:rPr lang="ru-RU" sz="1700" dirty="0" smtClean="0">
                <a:latin typeface="Arial" panose="020B0604020202020204" pitchFamily="34" charset="0"/>
                <a:cs typeface="Arial" panose="020B0604020202020204" pitchFamily="34" charset="0"/>
              </a:rPr>
              <a:t>обновление </a:t>
            </a:r>
            <a:r>
              <a:rPr lang="ru-RU" sz="1700" dirty="0">
                <a:latin typeface="Arial" panose="020B0604020202020204" pitchFamily="34" charset="0"/>
                <a:cs typeface="Arial" panose="020B0604020202020204" pitchFamily="34" charset="0"/>
              </a:rPr>
              <a:t>библиотечного оборудования на выделенные средства. </a:t>
            </a:r>
            <a:r>
              <a:rPr lang="ru-RU" sz="1700" dirty="0" smtClean="0">
                <a:latin typeface="Arial" panose="020B0604020202020204" pitchFamily="34" charset="0"/>
                <a:cs typeface="Arial" panose="020B0604020202020204" pitchFamily="34" charset="0"/>
              </a:rPr>
              <a:t>Ученики решили </a:t>
            </a:r>
            <a:r>
              <a:rPr lang="ru-RU" sz="1700" dirty="0">
                <a:latin typeface="Arial" panose="020B0604020202020204" pitchFamily="34" charset="0"/>
                <a:cs typeface="Arial" panose="020B0604020202020204" pitchFamily="34" charset="0"/>
              </a:rPr>
              <a:t>в школьной столярной мастерской сами спроектировать </a:t>
            </a:r>
            <a:r>
              <a:rPr lang="ru-RU" sz="1700" dirty="0" smtClean="0">
                <a:latin typeface="Arial" panose="020B0604020202020204" pitchFamily="34" charset="0"/>
                <a:cs typeface="Arial" panose="020B0604020202020204" pitchFamily="34" charset="0"/>
              </a:rPr>
              <a:t>и дополнительно </a:t>
            </a:r>
            <a:r>
              <a:rPr lang="ru-RU" sz="1700" dirty="0">
                <a:latin typeface="Arial" panose="020B0604020202020204" pitchFamily="34" charset="0"/>
                <a:cs typeface="Arial" panose="020B0604020202020204" pitchFamily="34" charset="0"/>
              </a:rPr>
              <a:t>сделать часть стеллажей для учебной литературы</a:t>
            </a:r>
            <a:r>
              <a:rPr lang="ru-RU" sz="1700" dirty="0" smtClean="0">
                <a:latin typeface="Arial" panose="020B0604020202020204" pitchFamily="34" charset="0"/>
                <a:cs typeface="Arial" panose="020B0604020202020204" pitchFamily="34" charset="0"/>
              </a:rPr>
              <a:t>. Определять</a:t>
            </a:r>
            <a:r>
              <a:rPr lang="ru-RU" sz="1700" dirty="0">
                <a:latin typeface="Arial" panose="020B0604020202020204" pitchFamily="34" charset="0"/>
                <a:cs typeface="Arial" panose="020B0604020202020204" pitchFamily="34" charset="0"/>
              </a:rPr>
              <a:t>, какие именно книги пополнят библиотечный фонд</a:t>
            </a:r>
            <a:r>
              <a:rPr lang="ru-RU" sz="1700" dirty="0" smtClean="0">
                <a:latin typeface="Arial" panose="020B0604020202020204" pitchFamily="34" charset="0"/>
                <a:cs typeface="Arial" panose="020B0604020202020204" pitchFamily="34" charset="0"/>
              </a:rPr>
              <a:t>, тоже </a:t>
            </a:r>
            <a:r>
              <a:rPr lang="ru-RU" sz="1700" dirty="0">
                <a:latin typeface="Arial" panose="020B0604020202020204" pitchFamily="34" charset="0"/>
                <a:cs typeface="Arial" panose="020B0604020202020204" pitchFamily="34" charset="0"/>
              </a:rPr>
              <a:t>будут дети, проведя опрос среди учеников своей школы</a:t>
            </a:r>
            <a:r>
              <a:rPr lang="ru-RU" sz="1700" dirty="0" smtClean="0">
                <a:latin typeface="Arial" panose="020B0604020202020204" pitchFamily="34" charset="0"/>
                <a:cs typeface="Arial" panose="020B0604020202020204" pitchFamily="34" charset="0"/>
              </a:rPr>
              <a:t>. Эта </a:t>
            </a:r>
            <a:r>
              <a:rPr lang="ru-RU" sz="1700" dirty="0">
                <a:latin typeface="Arial" panose="020B0604020202020204" pitchFamily="34" charset="0"/>
                <a:cs typeface="Arial" panose="020B0604020202020204" pitchFamily="34" charset="0"/>
              </a:rPr>
              <a:t>заявка оказалась одной из лучших. В течение </a:t>
            </a:r>
            <a:r>
              <a:rPr lang="ru-RU" sz="1700" dirty="0" smtClean="0">
                <a:latin typeface="Arial" panose="020B0604020202020204" pitchFamily="34" charset="0"/>
                <a:cs typeface="Arial" panose="020B0604020202020204" pitchFamily="34" charset="0"/>
              </a:rPr>
              <a:t>следующего учебного </a:t>
            </a:r>
            <a:r>
              <a:rPr lang="ru-RU" sz="1700" dirty="0">
                <a:latin typeface="Arial" panose="020B0604020202020204" pitchFamily="34" charset="0"/>
                <a:cs typeface="Arial" panose="020B0604020202020204" pitchFamily="34" charset="0"/>
              </a:rPr>
              <a:t>года школьная библиотека будет приобретать книги </a:t>
            </a:r>
            <a:r>
              <a:rPr lang="ru-RU" sz="1700" dirty="0" smtClean="0">
                <a:latin typeface="Arial" panose="020B0604020202020204" pitchFamily="34" charset="0"/>
                <a:cs typeface="Arial" panose="020B0604020202020204" pitchFamily="34" charset="0"/>
              </a:rPr>
              <a:t>современных </a:t>
            </a:r>
            <a:r>
              <a:rPr lang="ru-RU" sz="1700" dirty="0">
                <a:latin typeface="Arial" panose="020B0604020202020204" pitchFamily="34" charset="0"/>
                <a:cs typeface="Arial" panose="020B0604020202020204" pitchFamily="34" charset="0"/>
              </a:rPr>
              <a:t>писателей, мобильные стеллажи для книг с </a:t>
            </a:r>
            <a:r>
              <a:rPr lang="ru-RU" sz="1700" dirty="0" smtClean="0">
                <a:latin typeface="Arial" panose="020B0604020202020204" pitchFamily="34" charset="0"/>
                <a:cs typeface="Arial" panose="020B0604020202020204" pitchFamily="34" charset="0"/>
              </a:rPr>
              <a:t>ручным приводом</a:t>
            </a:r>
            <a:r>
              <a:rPr lang="ru-RU" sz="1700" dirty="0">
                <a:latin typeface="Arial" panose="020B0604020202020204" pitchFamily="34" charset="0"/>
                <a:cs typeface="Arial" panose="020B0604020202020204" pitchFamily="34" charset="0"/>
              </a:rPr>
              <a:t>, мобильные столы и другую мебель.</a:t>
            </a:r>
          </a:p>
        </p:txBody>
      </p:sp>
    </p:spTree>
    <p:extLst>
      <p:ext uri="{BB962C8B-B14F-4D97-AF65-F5344CB8AC3E}">
        <p14:creationId xmlns:p14="http://schemas.microsoft.com/office/powerpoint/2010/main" val="814927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8</a:t>
            </a:fld>
            <a:endParaRPr lang="ru-RU" dirty="0"/>
          </a:p>
        </p:txBody>
      </p:sp>
      <p:sp>
        <p:nvSpPr>
          <p:cNvPr id="34" name="TextBox 33"/>
          <p:cNvSpPr txBox="1"/>
          <p:nvPr/>
        </p:nvSpPr>
        <p:spPr>
          <a:xfrm>
            <a:off x="192106" y="224272"/>
            <a:ext cx="10509189" cy="409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8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Серия «Функциональная Грамотность</a:t>
            </a: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. Тренажёры»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35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75029" y="6697029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rgbClr val="002060"/>
                </a:solidFill>
              </a:rPr>
              <a:t>© АО «Издательство «Просвещение» </a:t>
            </a:r>
            <a:r>
              <a:rPr lang="ru-RU" sz="700" dirty="0" smtClean="0">
                <a:solidFill>
                  <a:srgbClr val="002060"/>
                </a:solidFill>
              </a:rPr>
              <a:t>2020</a:t>
            </a:r>
            <a:endParaRPr lang="ru-RU" sz="700" dirty="0">
              <a:solidFill>
                <a:srgbClr val="002060"/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290" y="823750"/>
            <a:ext cx="2209800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192106" y="1119025"/>
            <a:ext cx="11809740" cy="21852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700" dirty="0">
                <a:latin typeface="Arial" panose="020B0604020202020204" pitchFamily="34" charset="0"/>
                <a:cs typeface="Arial" panose="020B0604020202020204" pitchFamily="34" charset="0"/>
              </a:rPr>
              <a:t>Школьники под руководством учителя литературы подали </a:t>
            </a:r>
            <a:r>
              <a:rPr lang="ru-RU" sz="1700" dirty="0" smtClean="0">
                <a:latin typeface="Arial" panose="020B0604020202020204" pitchFamily="34" charset="0"/>
                <a:cs typeface="Arial" panose="020B0604020202020204" pitchFamily="34" charset="0"/>
              </a:rPr>
              <a:t>заявку </a:t>
            </a:r>
            <a:r>
              <a:rPr lang="ru-RU" sz="1700" dirty="0">
                <a:latin typeface="Arial" panose="020B0604020202020204" pitchFamily="34" charset="0"/>
                <a:cs typeface="Arial" panose="020B0604020202020204" pitchFamily="34" charset="0"/>
              </a:rPr>
              <a:t>на получение гранта городской мэрии на развитие </a:t>
            </a:r>
            <a:r>
              <a:rPr lang="ru-RU" sz="1700" dirty="0" smtClean="0">
                <a:latin typeface="Arial" panose="020B0604020202020204" pitchFamily="34" charset="0"/>
                <a:cs typeface="Arial" panose="020B0604020202020204" pitchFamily="34" charset="0"/>
              </a:rPr>
              <a:t>школьной библиотеки</a:t>
            </a:r>
            <a:r>
              <a:rPr lang="ru-RU" sz="1700" dirty="0">
                <a:latin typeface="Arial" panose="020B0604020202020204" pitchFamily="34" charset="0"/>
                <a:cs typeface="Arial" panose="020B0604020202020204" pitchFamily="34" charset="0"/>
              </a:rPr>
              <a:t>. В заявке были предусмотрены не только закупка </a:t>
            </a:r>
            <a:r>
              <a:rPr lang="ru-RU" sz="1700" dirty="0" smtClean="0">
                <a:latin typeface="Arial" panose="020B0604020202020204" pitchFamily="34" charset="0"/>
                <a:cs typeface="Arial" panose="020B0604020202020204" pitchFamily="34" charset="0"/>
              </a:rPr>
              <a:t>художественной </a:t>
            </a:r>
            <a:r>
              <a:rPr lang="ru-RU" sz="1700" dirty="0">
                <a:latin typeface="Arial" panose="020B0604020202020204" pitchFamily="34" charset="0"/>
                <a:cs typeface="Arial" panose="020B0604020202020204" pitchFamily="34" charset="0"/>
              </a:rPr>
              <a:t>литературы и электронных учебников, но и </a:t>
            </a:r>
            <a:r>
              <a:rPr lang="ru-RU" sz="1700" dirty="0" smtClean="0">
                <a:latin typeface="Arial" panose="020B0604020202020204" pitchFamily="34" charset="0"/>
                <a:cs typeface="Arial" panose="020B0604020202020204" pitchFamily="34" charset="0"/>
              </a:rPr>
              <a:t>обновление </a:t>
            </a:r>
            <a:r>
              <a:rPr lang="ru-RU" sz="1700" dirty="0">
                <a:latin typeface="Arial" panose="020B0604020202020204" pitchFamily="34" charset="0"/>
                <a:cs typeface="Arial" panose="020B0604020202020204" pitchFamily="34" charset="0"/>
              </a:rPr>
              <a:t>библиотечного оборудования на выделенные средства. </a:t>
            </a:r>
            <a:r>
              <a:rPr lang="ru-RU" sz="1700" dirty="0" smtClean="0">
                <a:latin typeface="Arial" panose="020B0604020202020204" pitchFamily="34" charset="0"/>
                <a:cs typeface="Arial" panose="020B0604020202020204" pitchFamily="34" charset="0"/>
              </a:rPr>
              <a:t>Ученики решили </a:t>
            </a:r>
            <a:r>
              <a:rPr lang="ru-RU" sz="1700" dirty="0">
                <a:latin typeface="Arial" panose="020B0604020202020204" pitchFamily="34" charset="0"/>
                <a:cs typeface="Arial" panose="020B0604020202020204" pitchFamily="34" charset="0"/>
              </a:rPr>
              <a:t>в школьной столярной мастерской сами спроектировать </a:t>
            </a:r>
            <a:r>
              <a:rPr lang="ru-RU" sz="1700" dirty="0" smtClean="0">
                <a:latin typeface="Arial" panose="020B0604020202020204" pitchFamily="34" charset="0"/>
                <a:cs typeface="Arial" panose="020B0604020202020204" pitchFamily="34" charset="0"/>
              </a:rPr>
              <a:t>и дополнительно </a:t>
            </a:r>
            <a:r>
              <a:rPr lang="ru-RU" sz="1700" dirty="0">
                <a:latin typeface="Arial" panose="020B0604020202020204" pitchFamily="34" charset="0"/>
                <a:cs typeface="Arial" panose="020B0604020202020204" pitchFamily="34" charset="0"/>
              </a:rPr>
              <a:t>сделать часть стеллажей для учебной литературы</a:t>
            </a:r>
            <a:r>
              <a:rPr lang="ru-RU" sz="1700" dirty="0" smtClean="0">
                <a:latin typeface="Arial" panose="020B0604020202020204" pitchFamily="34" charset="0"/>
                <a:cs typeface="Arial" panose="020B0604020202020204" pitchFamily="34" charset="0"/>
              </a:rPr>
              <a:t>. Определять</a:t>
            </a:r>
            <a:r>
              <a:rPr lang="ru-RU" sz="1700" dirty="0">
                <a:latin typeface="Arial" panose="020B0604020202020204" pitchFamily="34" charset="0"/>
                <a:cs typeface="Arial" panose="020B0604020202020204" pitchFamily="34" charset="0"/>
              </a:rPr>
              <a:t>, какие именно книги пополнят библиотечный фонд</a:t>
            </a:r>
            <a:r>
              <a:rPr lang="ru-RU" sz="1700" dirty="0" smtClean="0">
                <a:latin typeface="Arial" panose="020B0604020202020204" pitchFamily="34" charset="0"/>
                <a:cs typeface="Arial" panose="020B0604020202020204" pitchFamily="34" charset="0"/>
              </a:rPr>
              <a:t>, тоже </a:t>
            </a:r>
            <a:r>
              <a:rPr lang="ru-RU" sz="1700" dirty="0">
                <a:latin typeface="Arial" panose="020B0604020202020204" pitchFamily="34" charset="0"/>
                <a:cs typeface="Arial" panose="020B0604020202020204" pitchFamily="34" charset="0"/>
              </a:rPr>
              <a:t>будут дети, проведя опрос среди учеников своей школы</a:t>
            </a:r>
            <a:r>
              <a:rPr lang="ru-RU" sz="1700" dirty="0" smtClean="0">
                <a:latin typeface="Arial" panose="020B0604020202020204" pitchFamily="34" charset="0"/>
                <a:cs typeface="Arial" panose="020B0604020202020204" pitchFamily="34" charset="0"/>
              </a:rPr>
              <a:t>. Эта </a:t>
            </a:r>
            <a:r>
              <a:rPr lang="ru-RU" sz="1700" dirty="0">
                <a:latin typeface="Arial" panose="020B0604020202020204" pitchFamily="34" charset="0"/>
                <a:cs typeface="Arial" panose="020B0604020202020204" pitchFamily="34" charset="0"/>
              </a:rPr>
              <a:t>заявка оказалась одной из лучших. В течение </a:t>
            </a:r>
            <a:r>
              <a:rPr lang="ru-RU" sz="1700" dirty="0" smtClean="0">
                <a:latin typeface="Arial" panose="020B0604020202020204" pitchFamily="34" charset="0"/>
                <a:cs typeface="Arial" panose="020B0604020202020204" pitchFamily="34" charset="0"/>
              </a:rPr>
              <a:t>следующего учебного </a:t>
            </a:r>
            <a:r>
              <a:rPr lang="ru-RU" sz="1700" dirty="0">
                <a:latin typeface="Arial" panose="020B0604020202020204" pitchFamily="34" charset="0"/>
                <a:cs typeface="Arial" panose="020B0604020202020204" pitchFamily="34" charset="0"/>
              </a:rPr>
              <a:t>года школьная библиотека будет приобретать книги </a:t>
            </a:r>
            <a:r>
              <a:rPr lang="ru-RU" sz="1700" dirty="0" smtClean="0">
                <a:latin typeface="Arial" panose="020B0604020202020204" pitchFamily="34" charset="0"/>
                <a:cs typeface="Arial" panose="020B0604020202020204" pitchFamily="34" charset="0"/>
              </a:rPr>
              <a:t>современных </a:t>
            </a:r>
            <a:r>
              <a:rPr lang="ru-RU" sz="1700" dirty="0">
                <a:latin typeface="Arial" panose="020B0604020202020204" pitchFamily="34" charset="0"/>
                <a:cs typeface="Arial" panose="020B0604020202020204" pitchFamily="34" charset="0"/>
              </a:rPr>
              <a:t>писателей, мобильные стеллажи для книг с </a:t>
            </a:r>
            <a:r>
              <a:rPr lang="ru-RU" sz="1700" dirty="0" smtClean="0">
                <a:latin typeface="Arial" panose="020B0604020202020204" pitchFamily="34" charset="0"/>
                <a:cs typeface="Arial" panose="020B0604020202020204" pitchFamily="34" charset="0"/>
              </a:rPr>
              <a:t>ручным приводом</a:t>
            </a:r>
            <a:r>
              <a:rPr lang="ru-RU" sz="1700" dirty="0">
                <a:latin typeface="Arial" panose="020B0604020202020204" pitchFamily="34" charset="0"/>
                <a:cs typeface="Arial" panose="020B0604020202020204" pitchFamily="34" charset="0"/>
              </a:rPr>
              <a:t>, мобильные столы и другую мебель.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60537" y="3324960"/>
            <a:ext cx="11852535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Вопрос 1</a:t>
            </a: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 школьной столярной мастерской хранятся длинные узкие и короткие широкие прямоугольные доски и шурупы. После того как стеллажи были спроектированы с помощью учителя технологии, оказалось, что для сборки одного стеллажа требуются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4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длинные узкие прямоугольные доски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3 короткие широкие прямоугольные доски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; 32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шурупа.</a:t>
            </a: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Какое наибольшее количество стеллажей могут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изготовить школьники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из следующего набора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еталей?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6066" y="5416156"/>
            <a:ext cx="9419330" cy="9941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54257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9</a:t>
            </a:fld>
            <a:endParaRPr lang="ru-RU" dirty="0"/>
          </a:p>
        </p:txBody>
      </p:sp>
      <p:sp>
        <p:nvSpPr>
          <p:cNvPr id="34" name="TextBox 33"/>
          <p:cNvSpPr txBox="1"/>
          <p:nvPr/>
        </p:nvSpPr>
        <p:spPr>
          <a:xfrm>
            <a:off x="192106" y="224272"/>
            <a:ext cx="10509189" cy="409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8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Серия «Функциональная Грамотность</a:t>
            </a: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. Тренажёры»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35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75029" y="6697029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rgbClr val="002060"/>
                </a:solidFill>
              </a:rPr>
              <a:t>© АО «Издательство «Просвещение» </a:t>
            </a:r>
            <a:r>
              <a:rPr lang="ru-RU" sz="700" dirty="0" smtClean="0">
                <a:solidFill>
                  <a:srgbClr val="002060"/>
                </a:solidFill>
              </a:rPr>
              <a:t>2020</a:t>
            </a:r>
            <a:endParaRPr lang="ru-RU" sz="700" dirty="0">
              <a:solidFill>
                <a:srgbClr val="002060"/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290" y="823750"/>
            <a:ext cx="2209800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192106" y="1168522"/>
            <a:ext cx="11852535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Вопрос 1</a:t>
            </a: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 школьной столярной мастерской хранятся длинные узкие и короткие широкие прямоугольные доски и шурупы. После того как стеллажи были спроектированы с помощью учителя технологии, оказалось, что для сборки одного стеллажа требуются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4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длинные узкие прямоугольные доски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3 короткие широкие прямоугольные доски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; 32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шурупа.</a:t>
            </a: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Какое наибольшее количество стеллажей могут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изготовить школьники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из следующего набора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еталей?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8708" y="3109684"/>
            <a:ext cx="9419330" cy="9941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2" name="Прямоугольник 11"/>
              <p:cNvSpPr/>
              <p:nvPr/>
            </p:nvSpPr>
            <p:spPr>
              <a:xfrm>
                <a:off x="1408708" y="4276245"/>
                <a:ext cx="9419330" cy="132343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2000" b="1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Решение</a:t>
                </a:r>
                <a:endParaRPr lang="ru-RU" sz="2000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ru-RU" sz="2000" i="1" dirty="0" smtClean="0">
                          <a:latin typeface="Cambria Math"/>
                          <a:cs typeface="Arial" panose="020B0604020202020204" pitchFamily="34" charset="0"/>
                        </a:rPr>
                        <m:t>1203</m:t>
                      </m:r>
                      <m:r>
                        <a:rPr lang="en-US" sz="2000" b="0" i="1" dirty="0" smtClean="0">
                          <a:latin typeface="Cambria Math"/>
                          <a:cs typeface="Arial" panose="020B0604020202020204" pitchFamily="34" charset="0"/>
                        </a:rPr>
                        <m:t> </m:t>
                      </m:r>
                      <m:r>
                        <a:rPr lang="ru-RU" sz="2000" i="1" dirty="0" smtClean="0">
                          <a:latin typeface="Cambria Math"/>
                          <a:cs typeface="Arial" panose="020B0604020202020204" pitchFamily="34" charset="0"/>
                        </a:rPr>
                        <m:t>:4 = 300,75</m:t>
                      </m:r>
                    </m:oMath>
                  </m:oMathPara>
                </a14:m>
                <a:endParaRPr lang="ru-RU" sz="2000" dirty="0" smtClean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ru-RU" sz="2000" i="1" dirty="0" smtClean="0">
                          <a:latin typeface="Cambria Math"/>
                          <a:cs typeface="Arial" panose="020B0604020202020204" pitchFamily="34" charset="0"/>
                        </a:rPr>
                        <m:t>907</m:t>
                      </m:r>
                      <m:r>
                        <a:rPr lang="en-US" sz="2000" b="0" i="1" dirty="0" smtClean="0">
                          <a:latin typeface="Cambria Math"/>
                          <a:cs typeface="Arial" panose="020B0604020202020204" pitchFamily="34" charset="0"/>
                        </a:rPr>
                        <m:t> </m:t>
                      </m:r>
                      <m:r>
                        <a:rPr lang="ru-RU" sz="2000" i="1" dirty="0" smtClean="0">
                          <a:latin typeface="Cambria Math"/>
                          <a:cs typeface="Arial" panose="020B0604020202020204" pitchFamily="34" charset="0"/>
                        </a:rPr>
                        <m:t>:3 ≈303,33</m:t>
                      </m:r>
                    </m:oMath>
                  </m:oMathPara>
                </a14:m>
                <a:endParaRPr lang="ru-RU" sz="2000" dirty="0" smtClean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ru-RU" sz="2000" i="1" dirty="0" smtClean="0">
                          <a:latin typeface="Cambria Math"/>
                          <a:cs typeface="Arial" panose="020B0604020202020204" pitchFamily="34" charset="0"/>
                        </a:rPr>
                        <m:t>9870</m:t>
                      </m:r>
                      <m:r>
                        <a:rPr lang="en-US" sz="2000" b="0" i="1" dirty="0" smtClean="0">
                          <a:latin typeface="Cambria Math"/>
                          <a:cs typeface="Arial" panose="020B0604020202020204" pitchFamily="34" charset="0"/>
                        </a:rPr>
                        <m:t> </m:t>
                      </m:r>
                      <m:r>
                        <a:rPr lang="ru-RU" sz="2000" i="1" dirty="0" smtClean="0">
                          <a:latin typeface="Cambria Math"/>
                          <a:cs typeface="Arial" panose="020B0604020202020204" pitchFamily="34" charset="0"/>
                        </a:rPr>
                        <m:t>:32 </m:t>
                      </m:r>
                      <m:r>
                        <a:rPr lang="ru-RU" sz="2000" i="1" dirty="0">
                          <a:latin typeface="Cambria Math"/>
                          <a:cs typeface="Arial" panose="020B0604020202020204" pitchFamily="34" charset="0"/>
                        </a:rPr>
                        <m:t>≈</m:t>
                      </m:r>
                      <m:r>
                        <a:rPr lang="ru-RU" sz="2000" i="1" dirty="0" smtClean="0">
                          <a:latin typeface="Cambria Math"/>
                          <a:cs typeface="Arial" panose="020B0604020202020204" pitchFamily="34" charset="0"/>
                        </a:rPr>
                        <m:t>308,5</m:t>
                      </m:r>
                    </m:oMath>
                  </m:oMathPara>
                </a14:m>
                <a:endParaRPr lang="ru-RU" sz="20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12" name="Прямоугольник 1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08708" y="4276245"/>
                <a:ext cx="9419330" cy="1323439"/>
              </a:xfrm>
              <a:prstGeom prst="rect">
                <a:avLst/>
              </a:prstGeom>
              <a:blipFill rotWithShape="1">
                <a:blip r:embed="rId6"/>
                <a:stretch>
                  <a:fillRect l="-647" t="-1835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Прямоугольник 13"/>
          <p:cNvSpPr/>
          <p:nvPr/>
        </p:nvSpPr>
        <p:spPr>
          <a:xfrm>
            <a:off x="5823852" y="4890395"/>
            <a:ext cx="266829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твет: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300 стеллажей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5864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34" name="TextBox 33"/>
          <p:cNvSpPr txBox="1"/>
          <p:nvPr/>
        </p:nvSpPr>
        <p:spPr>
          <a:xfrm>
            <a:off x="192106" y="224272"/>
            <a:ext cx="10509189" cy="409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8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Серия «Функциональная Грамотность</a:t>
            </a: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. Тренажёры»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35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75029" y="6697029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rgbClr val="002060"/>
                </a:solidFill>
              </a:rPr>
              <a:t>© АО «Издательство «Просвещение» </a:t>
            </a:r>
            <a:r>
              <a:rPr lang="ru-RU" sz="700" dirty="0" smtClean="0">
                <a:solidFill>
                  <a:srgbClr val="002060"/>
                </a:solidFill>
              </a:rPr>
              <a:t>2020</a:t>
            </a:r>
            <a:endParaRPr lang="ru-RU" sz="700" dirty="0">
              <a:solidFill>
                <a:srgbClr val="002060"/>
              </a:solidFill>
            </a:endParaRPr>
          </a:p>
        </p:txBody>
      </p:sp>
      <p:pic>
        <p:nvPicPr>
          <p:cNvPr id="1054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793" y="814225"/>
            <a:ext cx="1638300" cy="31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182793" y="1180319"/>
            <a:ext cx="11845219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На уроке биологии учитель рассказывал о том, что возраст </a:t>
            </a:r>
            <a:r>
              <a:rPr lang="ru-RU" dirty="0" smtClean="0"/>
              <a:t>каждого </a:t>
            </a:r>
            <a:r>
              <a:rPr lang="ru-RU" dirty="0"/>
              <a:t>живого организма определяется его видом и условиями </a:t>
            </a:r>
            <a:r>
              <a:rPr lang="ru-RU" dirty="0" smtClean="0"/>
              <a:t>проживания</a:t>
            </a:r>
            <a:r>
              <a:rPr lang="ru-RU" dirty="0"/>
              <a:t>. Одни деревья живут несколько десятков лет, а другие — </a:t>
            </a:r>
            <a:r>
              <a:rPr lang="ru-RU" dirty="0" smtClean="0"/>
              <a:t>столетиями </a:t>
            </a:r>
            <a:r>
              <a:rPr lang="ru-RU" dirty="0"/>
              <a:t>и тысячелетиями. Однако лесные пожары и </a:t>
            </a:r>
            <a:r>
              <a:rPr lang="ru-RU" dirty="0" smtClean="0"/>
              <a:t>ухудшающаяся экология </a:t>
            </a:r>
            <a:r>
              <a:rPr lang="ru-RU" dirty="0"/>
              <a:t>сокращают продолжительность жизни деревьев. В </a:t>
            </a:r>
            <a:r>
              <a:rPr lang="ru-RU" dirty="0" smtClean="0"/>
              <a:t>качестве </a:t>
            </a:r>
            <a:r>
              <a:rPr lang="ru-RU" dirty="0"/>
              <a:t>домашнего задания учащиеся собрали информацию о </a:t>
            </a:r>
            <a:r>
              <a:rPr lang="ru-RU" dirty="0" smtClean="0"/>
              <a:t>средней продолжительности </a:t>
            </a:r>
            <a:r>
              <a:rPr lang="ru-RU" dirty="0"/>
              <a:t>жизни деревьев на планете (</a:t>
            </a:r>
            <a:r>
              <a:rPr lang="ru-RU" i="1" dirty="0"/>
              <a:t>Таблица 10</a:t>
            </a:r>
            <a:r>
              <a:rPr lang="ru-RU" dirty="0"/>
              <a:t>).</a:t>
            </a:r>
          </a:p>
        </p:txBody>
      </p:sp>
      <p:pic>
        <p:nvPicPr>
          <p:cNvPr id="10547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7822" y="2657647"/>
            <a:ext cx="8317816" cy="29832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97024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20</a:t>
            </a:fld>
            <a:endParaRPr lang="ru-RU" dirty="0"/>
          </a:p>
        </p:txBody>
      </p:sp>
      <p:sp>
        <p:nvSpPr>
          <p:cNvPr id="34" name="TextBox 33"/>
          <p:cNvSpPr txBox="1"/>
          <p:nvPr/>
        </p:nvSpPr>
        <p:spPr>
          <a:xfrm>
            <a:off x="192106" y="224272"/>
            <a:ext cx="10509189" cy="409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8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Серия «Функциональная Грамотность</a:t>
            </a: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. Тренажёры»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35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75029" y="6697029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rgbClr val="002060"/>
                </a:solidFill>
              </a:rPr>
              <a:t>© АО «Издательство «Просвещение» </a:t>
            </a:r>
            <a:r>
              <a:rPr lang="ru-RU" sz="700" dirty="0" smtClean="0">
                <a:solidFill>
                  <a:srgbClr val="002060"/>
                </a:solidFill>
              </a:rPr>
              <a:t>2020</a:t>
            </a:r>
            <a:endParaRPr lang="ru-RU" sz="700" dirty="0">
              <a:solidFill>
                <a:srgbClr val="002060"/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290" y="823750"/>
            <a:ext cx="2209800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192107" y="1168522"/>
            <a:ext cx="7109446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Вопрос 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 отчёте по использованию гранта нужно обосновать, почему при закупке был сделан выбор в пользу тех или иных жанров художественной литературы. Школьники решили использовать результаты проведённого опроса. Подводя итоги, ученики составили таблицу распределения художественной литературы по жанрам, которые хотели бы читать их друзья, одноклассники, и все учащиеся школы, которые приняли участие в опросе. Постройте круговую диаграмму, которая отражает распределение жанров в перечне книг, закупленных библиотекой.</a:t>
            </a:r>
          </a:p>
        </p:txBody>
      </p:sp>
      <p:grpSp>
        <p:nvGrpSpPr>
          <p:cNvPr id="11" name="Группа 10"/>
          <p:cNvGrpSpPr/>
          <p:nvPr/>
        </p:nvGrpSpPr>
        <p:grpSpPr>
          <a:xfrm>
            <a:off x="7343283" y="971387"/>
            <a:ext cx="4756847" cy="2343150"/>
            <a:chOff x="7183632" y="1009652"/>
            <a:chExt cx="4756847" cy="2343150"/>
          </a:xfrm>
        </p:grpSpPr>
        <p:grpSp>
          <p:nvGrpSpPr>
            <p:cNvPr id="15" name="Группа 14"/>
            <p:cNvGrpSpPr/>
            <p:nvPr/>
          </p:nvGrpSpPr>
          <p:grpSpPr>
            <a:xfrm>
              <a:off x="7197028" y="1009652"/>
              <a:ext cx="4743451" cy="2343150"/>
              <a:chOff x="1104900" y="3514725"/>
              <a:chExt cx="4743451" cy="2343150"/>
            </a:xfrm>
          </p:grpSpPr>
          <p:pic>
            <p:nvPicPr>
              <p:cNvPr id="19" name="Picture 2"/>
              <p:cNvPicPr>
                <a:picLocks noChangeAspect="1" noChangeArrowheads="1"/>
              </p:cNvPicPr>
              <p:nvPr/>
            </p:nvPicPr>
            <p:blipFill rotWithShape="1">
              <a:blip r:embed="rId4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harpenSoften amount="5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088" r="65623"/>
              <a:stretch/>
            </p:blipFill>
            <p:spPr bwMode="auto">
              <a:xfrm>
                <a:off x="1104900" y="3514726"/>
                <a:ext cx="2476500" cy="234314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0" name="Picture 2"/>
              <p:cNvPicPr>
                <a:picLocks noChangeAspect="1" noChangeArrowheads="1"/>
              </p:cNvPicPr>
              <p:nvPr/>
            </p:nvPicPr>
            <p:blipFill rotWithShape="1">
              <a:blip r:embed="rId4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harpenSoften amount="5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9464" r="10979"/>
              <a:stretch/>
            </p:blipFill>
            <p:spPr bwMode="auto">
              <a:xfrm>
                <a:off x="3581401" y="3514725"/>
                <a:ext cx="2266950" cy="234314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cxnSp>
          <p:nvCxnSpPr>
            <p:cNvPr id="16" name="Прямая соединительная линия 15"/>
            <p:cNvCxnSpPr/>
            <p:nvPr/>
          </p:nvCxnSpPr>
          <p:spPr>
            <a:xfrm>
              <a:off x="9673528" y="1033465"/>
              <a:ext cx="1" cy="2290761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Прямая соединительная линия 16"/>
            <p:cNvCxnSpPr/>
            <p:nvPr/>
          </p:nvCxnSpPr>
          <p:spPr>
            <a:xfrm>
              <a:off x="7183632" y="1009653"/>
              <a:ext cx="1" cy="2290761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Прямая соединительная линия 17"/>
            <p:cNvCxnSpPr/>
            <p:nvPr/>
          </p:nvCxnSpPr>
          <p:spPr>
            <a:xfrm>
              <a:off x="11936606" y="1035845"/>
              <a:ext cx="1" cy="2290761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2371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21</a:t>
            </a:fld>
            <a:endParaRPr lang="ru-RU" dirty="0"/>
          </a:p>
        </p:txBody>
      </p:sp>
      <p:sp>
        <p:nvSpPr>
          <p:cNvPr id="34" name="TextBox 33"/>
          <p:cNvSpPr txBox="1"/>
          <p:nvPr/>
        </p:nvSpPr>
        <p:spPr>
          <a:xfrm>
            <a:off x="192106" y="224272"/>
            <a:ext cx="10509189" cy="409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8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Серия «Функциональная Грамотность</a:t>
            </a: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. Тренажёры»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35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75029" y="6697029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rgbClr val="002060"/>
                </a:solidFill>
              </a:rPr>
              <a:t>© АО «Издательство «Просвещение» </a:t>
            </a:r>
            <a:r>
              <a:rPr lang="ru-RU" sz="700" dirty="0" smtClean="0">
                <a:solidFill>
                  <a:srgbClr val="002060"/>
                </a:solidFill>
              </a:rPr>
              <a:t>2020</a:t>
            </a:r>
            <a:endParaRPr lang="ru-RU" sz="700" dirty="0">
              <a:solidFill>
                <a:srgbClr val="002060"/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290" y="823750"/>
            <a:ext cx="2209800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192107" y="1168522"/>
            <a:ext cx="7109446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Вопрос 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 отчёте по использованию гранта нужно обосновать, почему при закупке был сделан выбор в пользу тех или иных жанров художественной литературы. Школьники решили использовать результаты проведённого опроса. Подводя итоги, ученики составили таблицу распределения художественной литературы по жанрам, которые хотели бы читать их друзья, одноклассники, и все учащиеся школы, которые приняли участие в опросе. Постройте круговую диаграмму, которая отражает распределение жанров в перечне книг, закупленных библиотекой.</a:t>
            </a:r>
          </a:p>
        </p:txBody>
      </p:sp>
      <p:grpSp>
        <p:nvGrpSpPr>
          <p:cNvPr id="11" name="Группа 10"/>
          <p:cNvGrpSpPr/>
          <p:nvPr/>
        </p:nvGrpSpPr>
        <p:grpSpPr>
          <a:xfrm>
            <a:off x="7343283" y="971387"/>
            <a:ext cx="4756847" cy="2343150"/>
            <a:chOff x="7183632" y="1009652"/>
            <a:chExt cx="4756847" cy="2343150"/>
          </a:xfrm>
        </p:grpSpPr>
        <p:grpSp>
          <p:nvGrpSpPr>
            <p:cNvPr id="15" name="Группа 14"/>
            <p:cNvGrpSpPr/>
            <p:nvPr/>
          </p:nvGrpSpPr>
          <p:grpSpPr>
            <a:xfrm>
              <a:off x="7197028" y="1009652"/>
              <a:ext cx="4743451" cy="2343150"/>
              <a:chOff x="1104900" y="3514725"/>
              <a:chExt cx="4743451" cy="2343150"/>
            </a:xfrm>
          </p:grpSpPr>
          <p:pic>
            <p:nvPicPr>
              <p:cNvPr id="19" name="Picture 2"/>
              <p:cNvPicPr>
                <a:picLocks noChangeAspect="1" noChangeArrowheads="1"/>
              </p:cNvPicPr>
              <p:nvPr/>
            </p:nvPicPr>
            <p:blipFill rotWithShape="1">
              <a:blip r:embed="rId4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harpenSoften amount="5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088" r="65623"/>
              <a:stretch/>
            </p:blipFill>
            <p:spPr bwMode="auto">
              <a:xfrm>
                <a:off x="1104900" y="3514726"/>
                <a:ext cx="2476500" cy="234314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0" name="Picture 2"/>
              <p:cNvPicPr>
                <a:picLocks noChangeAspect="1" noChangeArrowheads="1"/>
              </p:cNvPicPr>
              <p:nvPr/>
            </p:nvPicPr>
            <p:blipFill rotWithShape="1">
              <a:blip r:embed="rId4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harpenSoften amount="5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9464" r="10979"/>
              <a:stretch/>
            </p:blipFill>
            <p:spPr bwMode="auto">
              <a:xfrm>
                <a:off x="3581401" y="3514725"/>
                <a:ext cx="2266950" cy="234314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cxnSp>
          <p:nvCxnSpPr>
            <p:cNvPr id="16" name="Прямая соединительная линия 15"/>
            <p:cNvCxnSpPr/>
            <p:nvPr/>
          </p:nvCxnSpPr>
          <p:spPr>
            <a:xfrm>
              <a:off x="9673528" y="1033465"/>
              <a:ext cx="1" cy="2290761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Прямая соединительная линия 16"/>
            <p:cNvCxnSpPr/>
            <p:nvPr/>
          </p:nvCxnSpPr>
          <p:spPr>
            <a:xfrm>
              <a:off x="7183632" y="1009653"/>
              <a:ext cx="1" cy="2290761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Прямая соединительная линия 17"/>
            <p:cNvCxnSpPr/>
            <p:nvPr/>
          </p:nvCxnSpPr>
          <p:spPr>
            <a:xfrm>
              <a:off x="11936606" y="1035845"/>
              <a:ext cx="1" cy="2290761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Прямоугольник 20"/>
          <p:cNvSpPr/>
          <p:nvPr/>
        </p:nvSpPr>
        <p:spPr>
          <a:xfrm>
            <a:off x="200290" y="3730770"/>
            <a:ext cx="6160605" cy="3016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/>
              <a:t>Решение.</a:t>
            </a:r>
            <a:r>
              <a:rPr lang="ru-RU" dirty="0"/>
              <a:t> Так как 360° : 100 = 3,6°, то одному проценту соответствует центральный угол, равный 3,6°. Учитывая это, определим для каждой группы соответствующий центральный угол: </a:t>
            </a:r>
          </a:p>
          <a:p>
            <a:r>
              <a:rPr lang="ru-RU" sz="2000" dirty="0"/>
              <a:t>3,6° ‧ </a:t>
            </a:r>
            <a:r>
              <a:rPr lang="en-US" sz="2000" dirty="0" smtClean="0"/>
              <a:t>15</a:t>
            </a:r>
            <a:r>
              <a:rPr lang="ru-RU" sz="2000" dirty="0" smtClean="0"/>
              <a:t> </a:t>
            </a:r>
            <a:r>
              <a:rPr lang="ru-RU" sz="2000" dirty="0"/>
              <a:t>= </a:t>
            </a:r>
            <a:r>
              <a:rPr lang="en-US" sz="2000" dirty="0" smtClean="0"/>
              <a:t>54</a:t>
            </a:r>
            <a:r>
              <a:rPr lang="ru-RU" sz="2000" dirty="0" smtClean="0"/>
              <a:t>°,</a:t>
            </a:r>
            <a:endParaRPr lang="en-US" sz="2000" dirty="0" smtClean="0"/>
          </a:p>
          <a:p>
            <a:r>
              <a:rPr lang="ru-RU" sz="2000" dirty="0" smtClean="0"/>
              <a:t>3,6</a:t>
            </a:r>
            <a:r>
              <a:rPr lang="ru-RU" sz="2000" dirty="0"/>
              <a:t>° ‧ 10 = 36°,</a:t>
            </a:r>
          </a:p>
          <a:p>
            <a:r>
              <a:rPr lang="ru-RU" sz="2000" dirty="0"/>
              <a:t>3,6° ‧ </a:t>
            </a:r>
            <a:r>
              <a:rPr lang="en-US" sz="2000" dirty="0" smtClean="0"/>
              <a:t>2</a:t>
            </a:r>
            <a:r>
              <a:rPr lang="ru-RU" sz="2000" dirty="0" smtClean="0"/>
              <a:t>0 </a:t>
            </a:r>
            <a:r>
              <a:rPr lang="ru-RU" sz="2000" dirty="0"/>
              <a:t>= </a:t>
            </a:r>
            <a:r>
              <a:rPr lang="en-US" sz="2000" dirty="0" smtClean="0"/>
              <a:t>72</a:t>
            </a:r>
            <a:r>
              <a:rPr lang="ru-RU" sz="2000" dirty="0" smtClean="0"/>
              <a:t>°,</a:t>
            </a:r>
            <a:endParaRPr lang="ru-RU" sz="2000" dirty="0"/>
          </a:p>
          <a:p>
            <a:r>
              <a:rPr lang="ru-RU" sz="2000" dirty="0"/>
              <a:t>3,6° ‧ </a:t>
            </a:r>
            <a:r>
              <a:rPr lang="en-US" sz="2000" dirty="0" smtClean="0"/>
              <a:t>3</a:t>
            </a:r>
            <a:r>
              <a:rPr lang="ru-RU" sz="2000" dirty="0" smtClean="0"/>
              <a:t>0 </a:t>
            </a:r>
            <a:r>
              <a:rPr lang="ru-RU" sz="2000" dirty="0"/>
              <a:t>= </a:t>
            </a:r>
            <a:r>
              <a:rPr lang="en-US" sz="2000" dirty="0" smtClean="0"/>
              <a:t>108</a:t>
            </a:r>
            <a:r>
              <a:rPr lang="ru-RU" sz="2000" dirty="0" smtClean="0"/>
              <a:t>°,</a:t>
            </a:r>
            <a:endParaRPr lang="ru-RU" sz="2000" dirty="0"/>
          </a:p>
          <a:p>
            <a:r>
              <a:rPr lang="ru-RU" sz="2000" dirty="0" smtClean="0"/>
              <a:t>3,6</a:t>
            </a:r>
            <a:r>
              <a:rPr lang="ru-RU" sz="2000" dirty="0"/>
              <a:t>° ‧ </a:t>
            </a:r>
            <a:r>
              <a:rPr lang="ru-RU" sz="2000" dirty="0" smtClean="0"/>
              <a:t>25 </a:t>
            </a:r>
            <a:r>
              <a:rPr lang="ru-RU" sz="2000" dirty="0"/>
              <a:t>= </a:t>
            </a:r>
            <a:r>
              <a:rPr lang="ru-RU" sz="2000" dirty="0" smtClean="0"/>
              <a:t>90°, </a:t>
            </a:r>
          </a:p>
          <a:p>
            <a:r>
              <a:rPr lang="ru-RU" dirty="0" smtClean="0"/>
              <a:t>Разбив </a:t>
            </a:r>
            <a:r>
              <a:rPr lang="ru-RU" dirty="0"/>
              <a:t>круг на секторы, получим круговую диаграмму.</a:t>
            </a:r>
          </a:p>
        </p:txBody>
      </p:sp>
      <p:pic>
        <p:nvPicPr>
          <p:cNvPr id="22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8644" y="3406463"/>
            <a:ext cx="3403405" cy="33010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74633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22</a:t>
            </a:fld>
            <a:endParaRPr lang="ru-RU" dirty="0"/>
          </a:p>
        </p:txBody>
      </p:sp>
      <p:sp>
        <p:nvSpPr>
          <p:cNvPr id="34" name="TextBox 33"/>
          <p:cNvSpPr txBox="1"/>
          <p:nvPr/>
        </p:nvSpPr>
        <p:spPr>
          <a:xfrm>
            <a:off x="192106" y="224272"/>
            <a:ext cx="10509189" cy="409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8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Серия «Функциональная Грамотность</a:t>
            </a: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. Тренажёры»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35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75029" y="6697029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rgbClr val="002060"/>
                </a:solidFill>
              </a:rPr>
              <a:t>© АО «Издательство «Просвещение» </a:t>
            </a:r>
            <a:r>
              <a:rPr lang="ru-RU" sz="700" dirty="0" smtClean="0">
                <a:solidFill>
                  <a:srgbClr val="002060"/>
                </a:solidFill>
              </a:rPr>
              <a:t>2020</a:t>
            </a:r>
            <a:endParaRPr lang="ru-RU" sz="700" dirty="0">
              <a:solidFill>
                <a:srgbClr val="002060"/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290" y="823750"/>
            <a:ext cx="2209800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192107" y="1168522"/>
            <a:ext cx="1184521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Вопрос 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 смете сумма, выделенная на приобретение книг составляет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56 000 р. В результате опроса учащихся школы был составлен перечень книг и электронных учебников для закупки, состоящий из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300 книг. Определите, какое количество печатных книг и электронных учебников можно закупить, если один электронный учебник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тоит в среднем 80 р., а одна печатная книга — 240 р</a:t>
            </a:r>
          </a:p>
        </p:txBody>
      </p:sp>
    </p:spTree>
    <p:extLst>
      <p:ext uri="{BB962C8B-B14F-4D97-AF65-F5344CB8AC3E}">
        <p14:creationId xmlns:p14="http://schemas.microsoft.com/office/powerpoint/2010/main" val="1093621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23</a:t>
            </a:fld>
            <a:endParaRPr lang="ru-RU" dirty="0"/>
          </a:p>
        </p:txBody>
      </p:sp>
      <p:sp>
        <p:nvSpPr>
          <p:cNvPr id="34" name="TextBox 33"/>
          <p:cNvSpPr txBox="1"/>
          <p:nvPr/>
        </p:nvSpPr>
        <p:spPr>
          <a:xfrm>
            <a:off x="192106" y="224272"/>
            <a:ext cx="10509189" cy="409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8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Серия «Функциональная Грамотность</a:t>
            </a: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. Тренажёры»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35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75029" y="6697029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rgbClr val="002060"/>
                </a:solidFill>
              </a:rPr>
              <a:t>© АО «Издательство «Просвещение» </a:t>
            </a:r>
            <a:r>
              <a:rPr lang="ru-RU" sz="700" dirty="0" smtClean="0">
                <a:solidFill>
                  <a:srgbClr val="002060"/>
                </a:solidFill>
              </a:rPr>
              <a:t>2020</a:t>
            </a:r>
            <a:endParaRPr lang="ru-RU" sz="700" dirty="0">
              <a:solidFill>
                <a:srgbClr val="002060"/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290" y="823750"/>
            <a:ext cx="2209800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192107" y="1168522"/>
            <a:ext cx="1184521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Вопрос 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 смете сумма, выделенная на приобретение книг составляет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56 000 р. В результате опроса учащихся школы был составлен перечень книг и электронных учебников для закупки, состоящий из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300 книг. Определите, какое количество печатных книг и электронных учебников можно закупить, если один электронный учебник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тоит в среднем 80 р., а одна печатная книга — 240 р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Прямоугольник 8"/>
              <p:cNvSpPr/>
              <p:nvPr/>
            </p:nvSpPr>
            <p:spPr>
              <a:xfrm>
                <a:off x="247973" y="2615888"/>
                <a:ext cx="11693818" cy="87716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1700" b="1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Решение</a:t>
                </a:r>
                <a:endParaRPr lang="ru-RU" sz="1700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ru-RU" sz="17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Пусть количество возможных к закупке электронных учебников </a:t>
                </a:r>
                <a14:m>
                  <m:oMath xmlns:m="http://schemas.openxmlformats.org/officeDocument/2006/math">
                    <m:r>
                      <a:rPr lang="en-US" sz="1700" i="1" dirty="0" smtClean="0">
                        <a:latin typeface="Cambria Math"/>
                        <a:cs typeface="Arial" panose="020B0604020202020204" pitchFamily="34" charset="0"/>
                      </a:rPr>
                      <m:t>𝑥</m:t>
                    </m:r>
                  </m:oMath>
                </a14:m>
                <a:r>
                  <a:rPr lang="ru-RU" sz="17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 штук, печатных книг </a:t>
                </a:r>
                <a14:m>
                  <m:oMath xmlns:m="http://schemas.openxmlformats.org/officeDocument/2006/math">
                    <m:r>
                      <a:rPr lang="en-US" sz="1700" i="1" dirty="0" smtClean="0">
                        <a:latin typeface="Cambria Math"/>
                        <a:cs typeface="Arial" panose="020B0604020202020204" pitchFamily="34" charset="0"/>
                      </a:rPr>
                      <m:t>𝑦</m:t>
                    </m:r>
                  </m:oMath>
                </a14:m>
                <a:r>
                  <a:rPr lang="ru-RU" sz="17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 штук.</a:t>
                </a:r>
              </a:p>
              <a:p>
                <a:r>
                  <a:rPr lang="ru-RU" sz="17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Перечень содержит 300 книг. Первое уравнение: </a:t>
                </a:r>
                <a14:m>
                  <m:oMath xmlns:m="http://schemas.openxmlformats.org/officeDocument/2006/math">
                    <m:r>
                      <a:rPr lang="en-US" sz="1700" i="1" dirty="0" smtClean="0">
                        <a:latin typeface="Cambria Math"/>
                        <a:cs typeface="Arial" panose="020B0604020202020204" pitchFamily="34" charset="0"/>
                      </a:rPr>
                      <m:t>𝑥</m:t>
                    </m:r>
                    <m:r>
                      <a:rPr lang="en-US" sz="1700" i="1" dirty="0" smtClean="0">
                        <a:latin typeface="Cambria Math"/>
                        <a:cs typeface="Arial" panose="020B0604020202020204" pitchFamily="34" charset="0"/>
                      </a:rPr>
                      <m:t>+</m:t>
                    </m:r>
                    <m:r>
                      <a:rPr lang="en-US" sz="1700" i="1" dirty="0" smtClean="0">
                        <a:latin typeface="Cambria Math"/>
                        <a:cs typeface="Arial" panose="020B0604020202020204" pitchFamily="34" charset="0"/>
                      </a:rPr>
                      <m:t>𝑦</m:t>
                    </m:r>
                    <m:r>
                      <a:rPr lang="en-US" sz="1700" i="1" dirty="0" smtClean="0">
                        <a:latin typeface="Cambria Math"/>
                        <a:cs typeface="Arial" panose="020B0604020202020204" pitchFamily="34" charset="0"/>
                      </a:rPr>
                      <m:t>=300</m:t>
                    </m:r>
                  </m:oMath>
                </a14:m>
                <a:r>
                  <a:rPr lang="ru-RU" sz="17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.</a:t>
                </a:r>
              </a:p>
            </p:txBody>
          </p:sp>
        </mc:Choice>
        <mc:Fallback xmlns="">
          <p:sp>
            <p:nvSpPr>
              <p:cNvPr id="9" name="Прямоугольник 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7973" y="2615888"/>
                <a:ext cx="11693818" cy="877163"/>
              </a:xfrm>
              <a:prstGeom prst="rect">
                <a:avLst/>
              </a:prstGeom>
              <a:blipFill rotWithShape="1">
                <a:blip r:embed="rId4"/>
                <a:stretch>
                  <a:fillRect l="-365" t="-2083" b="-8333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119731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24</a:t>
            </a:fld>
            <a:endParaRPr lang="ru-RU" dirty="0"/>
          </a:p>
        </p:txBody>
      </p:sp>
      <p:sp>
        <p:nvSpPr>
          <p:cNvPr id="34" name="TextBox 33"/>
          <p:cNvSpPr txBox="1"/>
          <p:nvPr/>
        </p:nvSpPr>
        <p:spPr>
          <a:xfrm>
            <a:off x="192106" y="224272"/>
            <a:ext cx="10509189" cy="409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8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Серия «Функциональная Грамотность</a:t>
            </a: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. Тренажёры»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35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75029" y="6697029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rgbClr val="002060"/>
                </a:solidFill>
              </a:rPr>
              <a:t>© АО «Издательство «Просвещение» </a:t>
            </a:r>
            <a:r>
              <a:rPr lang="ru-RU" sz="700" dirty="0" smtClean="0">
                <a:solidFill>
                  <a:srgbClr val="002060"/>
                </a:solidFill>
              </a:rPr>
              <a:t>2020</a:t>
            </a:r>
            <a:endParaRPr lang="ru-RU" sz="700" dirty="0">
              <a:solidFill>
                <a:srgbClr val="002060"/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290" y="823750"/>
            <a:ext cx="2209800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192107" y="1168522"/>
            <a:ext cx="1184521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Вопрос 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 смете сумма, выделенная на приобретение книг составляет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56 000 р. В результате опроса учащихся школы был составлен перечень книг и электронных учебников для закупки, состоящий из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300 книг. Определите, какое количество печатных книг и электронных учебников можно закупить, если один электронный учебник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тоит в среднем 80 р., а одна печатная книга — 240 р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Прямоугольник 8"/>
              <p:cNvSpPr/>
              <p:nvPr/>
            </p:nvSpPr>
            <p:spPr>
              <a:xfrm>
                <a:off x="247973" y="2615888"/>
                <a:ext cx="11693818" cy="170816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1700" b="1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Решение</a:t>
                </a:r>
                <a:endParaRPr lang="ru-RU" sz="1700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ru-RU" sz="17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Пусть количество возможных к закупке электронных учебников </a:t>
                </a:r>
                <a14:m>
                  <m:oMath xmlns:m="http://schemas.openxmlformats.org/officeDocument/2006/math">
                    <m:r>
                      <a:rPr lang="en-US" sz="1700" i="1" dirty="0" smtClean="0">
                        <a:latin typeface="Cambria Math"/>
                        <a:cs typeface="Arial" panose="020B0604020202020204" pitchFamily="34" charset="0"/>
                      </a:rPr>
                      <m:t>𝑥</m:t>
                    </m:r>
                  </m:oMath>
                </a14:m>
                <a:r>
                  <a:rPr lang="ru-RU" sz="17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 штук, печатных книг </a:t>
                </a:r>
                <a14:m>
                  <m:oMath xmlns:m="http://schemas.openxmlformats.org/officeDocument/2006/math">
                    <m:r>
                      <a:rPr lang="en-US" sz="1700" i="1" dirty="0" smtClean="0">
                        <a:latin typeface="Cambria Math"/>
                        <a:cs typeface="Arial" panose="020B0604020202020204" pitchFamily="34" charset="0"/>
                      </a:rPr>
                      <m:t>𝑦</m:t>
                    </m:r>
                  </m:oMath>
                </a14:m>
                <a:r>
                  <a:rPr lang="ru-RU" sz="17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 штук.</a:t>
                </a:r>
              </a:p>
              <a:p>
                <a:r>
                  <a:rPr lang="ru-RU" sz="17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Перечень содержит 300 книг. Первое уравнение: </a:t>
                </a:r>
                <a14:m>
                  <m:oMath xmlns:m="http://schemas.openxmlformats.org/officeDocument/2006/math">
                    <m:r>
                      <a:rPr lang="en-US" sz="1700" i="1" dirty="0" smtClean="0">
                        <a:latin typeface="Cambria Math"/>
                        <a:cs typeface="Arial" panose="020B0604020202020204" pitchFamily="34" charset="0"/>
                      </a:rPr>
                      <m:t>𝑥</m:t>
                    </m:r>
                    <m:r>
                      <a:rPr lang="en-US" sz="1700" i="1" dirty="0" smtClean="0">
                        <a:latin typeface="Cambria Math"/>
                        <a:cs typeface="Arial" panose="020B0604020202020204" pitchFamily="34" charset="0"/>
                      </a:rPr>
                      <m:t>+</m:t>
                    </m:r>
                    <m:r>
                      <a:rPr lang="en-US" sz="1700" i="1" dirty="0" smtClean="0">
                        <a:latin typeface="Cambria Math"/>
                        <a:cs typeface="Arial" panose="020B0604020202020204" pitchFamily="34" charset="0"/>
                      </a:rPr>
                      <m:t>𝑦</m:t>
                    </m:r>
                    <m:r>
                      <a:rPr lang="en-US" sz="1700" i="1" dirty="0" smtClean="0">
                        <a:latin typeface="Cambria Math"/>
                        <a:cs typeface="Arial" panose="020B0604020202020204" pitchFamily="34" charset="0"/>
                      </a:rPr>
                      <m:t>=300</m:t>
                    </m:r>
                  </m:oMath>
                </a14:m>
                <a:r>
                  <a:rPr lang="ru-RU" sz="17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.</a:t>
                </a:r>
              </a:p>
              <a:p>
                <a:r>
                  <a:rPr lang="ru-RU" sz="17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Стоимость всех электронных учебников составит </a:t>
                </a:r>
                <a:r>
                  <a:rPr lang="ru-RU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ru-RU" i="1" dirty="0" smtClean="0">
                        <a:latin typeface="Cambria Math"/>
                        <a:cs typeface="Arial" panose="020B0604020202020204" pitchFamily="34" charset="0"/>
                      </a:rPr>
                      <m:t>80</m:t>
                    </m:r>
                    <m:r>
                      <a:rPr lang="en-US" i="1" dirty="0" smtClean="0">
                        <a:latin typeface="Cambria Math"/>
                        <a:cs typeface="Arial" panose="020B0604020202020204" pitchFamily="34" charset="0"/>
                      </a:rPr>
                      <m:t>𝑥</m:t>
                    </m:r>
                  </m:oMath>
                </a14:m>
                <a:r>
                  <a:rPr lang="ru-RU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 рублей, а стоимость печатных книг </a:t>
                </a:r>
                <a14:m>
                  <m:oMath xmlns:m="http://schemas.openxmlformats.org/officeDocument/2006/math">
                    <m:r>
                      <a:rPr lang="ru-RU" i="1" dirty="0" smtClean="0">
                        <a:latin typeface="Cambria Math"/>
                        <a:cs typeface="Arial" panose="020B0604020202020204" pitchFamily="34" charset="0"/>
                      </a:rPr>
                      <m:t>240</m:t>
                    </m:r>
                    <m:r>
                      <a:rPr lang="en-US" i="1" dirty="0" smtClean="0">
                        <a:latin typeface="Cambria Math"/>
                        <a:cs typeface="Arial" panose="020B0604020202020204" pitchFamily="34" charset="0"/>
                      </a:rPr>
                      <m:t>𝑦</m:t>
                    </m:r>
                  </m:oMath>
                </a14:m>
                <a:r>
                  <a:rPr lang="ru-RU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 рублей. Сумма на приобретение всех книг 56000 рублей.</a:t>
                </a:r>
              </a:p>
              <a:p>
                <a:r>
                  <a:rPr lang="ru-RU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Второе уравнение: </a:t>
                </a:r>
                <a14:m>
                  <m:oMath xmlns:m="http://schemas.openxmlformats.org/officeDocument/2006/math">
                    <m:r>
                      <a:rPr lang="en-US" i="1" dirty="0" smtClean="0">
                        <a:latin typeface="Cambria Math"/>
                        <a:cs typeface="Arial" panose="020B0604020202020204" pitchFamily="34" charset="0"/>
                      </a:rPr>
                      <m:t>80</m:t>
                    </m:r>
                    <m:r>
                      <a:rPr lang="en-US" i="1" dirty="0" smtClean="0">
                        <a:latin typeface="Cambria Math"/>
                        <a:cs typeface="Arial" panose="020B0604020202020204" pitchFamily="34" charset="0"/>
                      </a:rPr>
                      <m:t>𝑥</m:t>
                    </m:r>
                    <m:r>
                      <a:rPr lang="ru-RU" i="1" dirty="0" smtClean="0">
                        <a:latin typeface="Cambria Math"/>
                        <a:cs typeface="Arial" panose="020B0604020202020204" pitchFamily="34" charset="0"/>
                      </a:rPr>
                      <m:t>+</m:t>
                    </m:r>
                    <m:r>
                      <a:rPr lang="ru-RU" i="1" dirty="0">
                        <a:latin typeface="Cambria Math"/>
                        <a:cs typeface="Arial" panose="020B0604020202020204" pitchFamily="34" charset="0"/>
                      </a:rPr>
                      <m:t> </m:t>
                    </m:r>
                    <m:r>
                      <a:rPr lang="en-US" i="1" dirty="0" smtClean="0">
                        <a:latin typeface="Cambria Math"/>
                        <a:cs typeface="Arial" panose="020B0604020202020204" pitchFamily="34" charset="0"/>
                      </a:rPr>
                      <m:t>240</m:t>
                    </m:r>
                    <m:r>
                      <a:rPr lang="en-US" i="1" dirty="0" smtClean="0">
                        <a:latin typeface="Cambria Math"/>
                        <a:cs typeface="Arial" panose="020B0604020202020204" pitchFamily="34" charset="0"/>
                      </a:rPr>
                      <m:t>𝑦</m:t>
                    </m:r>
                    <m:r>
                      <a:rPr lang="ru-RU" i="1" dirty="0" smtClean="0">
                        <a:latin typeface="Cambria Math"/>
                        <a:cs typeface="Arial" panose="020B0604020202020204" pitchFamily="34" charset="0"/>
                      </a:rPr>
                      <m:t>= </m:t>
                    </m:r>
                    <m:r>
                      <a:rPr lang="en-US" i="1" dirty="0" smtClean="0">
                        <a:latin typeface="Cambria Math"/>
                        <a:cs typeface="Arial" panose="020B0604020202020204" pitchFamily="34" charset="0"/>
                      </a:rPr>
                      <m:t>56000</m:t>
                    </m:r>
                    <m:r>
                      <a:rPr lang="en-US" b="0" i="1" dirty="0" smtClean="0">
                        <a:latin typeface="Cambria Math"/>
                        <a:cs typeface="Arial" panose="020B0604020202020204" pitchFamily="34" charset="0"/>
                      </a:rPr>
                      <m:t>.</m:t>
                    </m:r>
                  </m:oMath>
                </a14:m>
                <a:endParaRPr lang="ru-RU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9" name="Прямоугольник 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7973" y="2615888"/>
                <a:ext cx="11693818" cy="1708160"/>
              </a:xfrm>
              <a:prstGeom prst="rect">
                <a:avLst/>
              </a:prstGeom>
              <a:blipFill rotWithShape="1">
                <a:blip r:embed="rId4"/>
                <a:stretch>
                  <a:fillRect l="-469" t="-1071" r="-938" b="-500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/>
              <p:cNvSpPr txBox="1"/>
              <p:nvPr/>
            </p:nvSpPr>
            <p:spPr>
              <a:xfrm>
                <a:off x="4428698" y="4337696"/>
                <a:ext cx="2697533" cy="61491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{"/>
                          <m:endChr m:val=""/>
                          <m:ctrlPr>
                            <a:rPr lang="ru-RU" i="1" smtClean="0">
                              <a:latin typeface="Cambria Math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ru-RU" i="1" smtClean="0">
                                  <a:latin typeface="Cambria Math"/>
                                </a:rPr>
                              </m:ctrlPr>
                            </m:eqArrPr>
                            <m:e>
                              <m:r>
                                <a:rPr lang="en-US" i="1" dirty="0">
                                  <a:latin typeface="Cambria Math"/>
                                  <a:cs typeface="Arial" panose="020B0604020202020204" pitchFamily="34" charset="0"/>
                                </a:rPr>
                                <m:t>𝑥</m:t>
                              </m:r>
                              <m:r>
                                <a:rPr lang="en-US" i="1" dirty="0">
                                  <a:latin typeface="Cambria Math"/>
                                  <a:cs typeface="Arial" panose="020B0604020202020204" pitchFamily="34" charset="0"/>
                                </a:rPr>
                                <m:t>+</m:t>
                              </m:r>
                              <m:r>
                                <a:rPr lang="en-US" i="1" dirty="0">
                                  <a:latin typeface="Cambria Math"/>
                                  <a:cs typeface="Arial" panose="020B0604020202020204" pitchFamily="34" charset="0"/>
                                </a:rPr>
                                <m:t>𝑦</m:t>
                              </m:r>
                              <m:r>
                                <a:rPr lang="en-US" i="1" dirty="0">
                                  <a:latin typeface="Cambria Math"/>
                                  <a:cs typeface="Arial" panose="020B0604020202020204" pitchFamily="34" charset="0"/>
                                </a:rPr>
                                <m:t>=300,                     </m:t>
                              </m:r>
                            </m:e>
                            <m:e>
                              <m:r>
                                <a:rPr lang="en-US" i="1" dirty="0">
                                  <a:latin typeface="Cambria Math"/>
                                  <a:cs typeface="Arial" panose="020B0604020202020204" pitchFamily="34" charset="0"/>
                                </a:rPr>
                                <m:t>80</m:t>
                              </m:r>
                              <m:r>
                                <a:rPr lang="en-US" i="1" dirty="0">
                                  <a:latin typeface="Cambria Math"/>
                                  <a:cs typeface="Arial" panose="020B0604020202020204" pitchFamily="34" charset="0"/>
                                </a:rPr>
                                <m:t>𝑥</m:t>
                              </m:r>
                              <m:r>
                                <a:rPr lang="ru-RU" i="1" dirty="0">
                                  <a:latin typeface="Cambria Math"/>
                                  <a:cs typeface="Arial" panose="020B0604020202020204" pitchFamily="34" charset="0"/>
                                </a:rPr>
                                <m:t>+ </m:t>
                              </m:r>
                              <m:r>
                                <a:rPr lang="en-US" i="1" dirty="0">
                                  <a:latin typeface="Cambria Math"/>
                                  <a:cs typeface="Arial" panose="020B0604020202020204" pitchFamily="34" charset="0"/>
                                </a:rPr>
                                <m:t>240</m:t>
                              </m:r>
                              <m:r>
                                <a:rPr lang="en-US" i="1" dirty="0">
                                  <a:latin typeface="Cambria Math"/>
                                  <a:cs typeface="Arial" panose="020B0604020202020204" pitchFamily="34" charset="0"/>
                                </a:rPr>
                                <m:t>𝑦</m:t>
                              </m:r>
                              <m:r>
                                <a:rPr lang="ru-RU" i="1" dirty="0">
                                  <a:latin typeface="Cambria Math"/>
                                  <a:cs typeface="Arial" panose="020B0604020202020204" pitchFamily="34" charset="0"/>
                                </a:rPr>
                                <m:t>= </m:t>
                              </m:r>
                              <m:r>
                                <a:rPr lang="en-US" i="1" dirty="0">
                                  <a:latin typeface="Cambria Math"/>
                                  <a:cs typeface="Arial" panose="020B0604020202020204" pitchFamily="34" charset="0"/>
                                </a:rPr>
                                <m:t>56000.</m:t>
                              </m:r>
                              <m:r>
                                <m:rPr>
                                  <m:nor/>
                                </m:rPr>
                                <a:rPr lang="ru-RU" sz="1600" dirty="0">
                                  <a:latin typeface="Arial" panose="020B0604020202020204" pitchFamily="34" charset="0"/>
                                  <a:cs typeface="Arial" panose="020B0604020202020204" pitchFamily="34" charset="0"/>
                                </a:rPr>
                                <m:t> 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2" name="TextBox 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28698" y="4337696"/>
                <a:ext cx="2697533" cy="614912"/>
              </a:xfrm>
              <a:prstGeom prst="rect">
                <a:avLst/>
              </a:prstGeom>
              <a:blipFill rotWithShape="1"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83062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25</a:t>
            </a:fld>
            <a:endParaRPr lang="ru-RU" dirty="0"/>
          </a:p>
        </p:txBody>
      </p:sp>
      <p:sp>
        <p:nvSpPr>
          <p:cNvPr id="34" name="TextBox 33"/>
          <p:cNvSpPr txBox="1"/>
          <p:nvPr/>
        </p:nvSpPr>
        <p:spPr>
          <a:xfrm>
            <a:off x="192106" y="224272"/>
            <a:ext cx="10509189" cy="409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8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Серия «Функциональная Грамотность</a:t>
            </a: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. Тренажёры»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35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75029" y="6697029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rgbClr val="002060"/>
                </a:solidFill>
              </a:rPr>
              <a:t>© АО «Издательство «Просвещение» </a:t>
            </a:r>
            <a:r>
              <a:rPr lang="ru-RU" sz="700" dirty="0" smtClean="0">
                <a:solidFill>
                  <a:srgbClr val="002060"/>
                </a:solidFill>
              </a:rPr>
              <a:t>2020</a:t>
            </a:r>
            <a:endParaRPr lang="ru-RU" sz="700" dirty="0">
              <a:solidFill>
                <a:srgbClr val="002060"/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290" y="823750"/>
            <a:ext cx="2209800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192107" y="1168522"/>
            <a:ext cx="1184521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Вопрос 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 смете сумма, выделенная на приобретение книг составляет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56 000 р. В результате опроса учащихся школы был составлен перечень книг и электронных учебников для закупки, состоящий из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300 книг. Определите, какое количество печатных книг и электронных учебников можно закупить, если один электронный учебник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тоит в среднем 80 р., а одна печатная книга — 240 р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Прямоугольник 8"/>
              <p:cNvSpPr/>
              <p:nvPr/>
            </p:nvSpPr>
            <p:spPr>
              <a:xfrm>
                <a:off x="247973" y="2615888"/>
                <a:ext cx="11693818" cy="170816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1700" b="1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Решение</a:t>
                </a:r>
              </a:p>
              <a:p>
                <a:r>
                  <a:rPr lang="ru-RU" sz="17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Пусть количество возможных к закупке электронных учебников </a:t>
                </a:r>
                <a14:m>
                  <m:oMath xmlns:m="http://schemas.openxmlformats.org/officeDocument/2006/math">
                    <m:r>
                      <a:rPr lang="en-US" sz="1700" i="1" dirty="0" smtClean="0">
                        <a:latin typeface="Cambria Math"/>
                        <a:cs typeface="Arial" panose="020B0604020202020204" pitchFamily="34" charset="0"/>
                      </a:rPr>
                      <m:t>𝑥</m:t>
                    </m:r>
                  </m:oMath>
                </a14:m>
                <a:r>
                  <a:rPr lang="ru-RU" sz="17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 штук, печатных книг </a:t>
                </a:r>
                <a14:m>
                  <m:oMath xmlns:m="http://schemas.openxmlformats.org/officeDocument/2006/math">
                    <m:r>
                      <a:rPr lang="en-US" sz="1700" i="1" dirty="0" smtClean="0">
                        <a:latin typeface="Cambria Math"/>
                        <a:cs typeface="Arial" panose="020B0604020202020204" pitchFamily="34" charset="0"/>
                      </a:rPr>
                      <m:t>𝑦</m:t>
                    </m:r>
                  </m:oMath>
                </a14:m>
                <a:r>
                  <a:rPr lang="ru-RU" sz="17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 штук.</a:t>
                </a:r>
              </a:p>
              <a:p>
                <a:r>
                  <a:rPr lang="ru-RU" sz="17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Перечень содержит 300 книг. Первое уравнение: </a:t>
                </a:r>
                <a14:m>
                  <m:oMath xmlns:m="http://schemas.openxmlformats.org/officeDocument/2006/math">
                    <m:r>
                      <a:rPr lang="en-US" sz="1700" i="1" dirty="0" smtClean="0">
                        <a:latin typeface="Cambria Math"/>
                        <a:cs typeface="Arial" panose="020B0604020202020204" pitchFamily="34" charset="0"/>
                      </a:rPr>
                      <m:t>𝑥</m:t>
                    </m:r>
                    <m:r>
                      <a:rPr lang="en-US" sz="1700" i="1" dirty="0" smtClean="0">
                        <a:latin typeface="Cambria Math"/>
                        <a:cs typeface="Arial" panose="020B0604020202020204" pitchFamily="34" charset="0"/>
                      </a:rPr>
                      <m:t>+</m:t>
                    </m:r>
                    <m:r>
                      <a:rPr lang="en-US" sz="1700" i="1" dirty="0" smtClean="0">
                        <a:latin typeface="Cambria Math"/>
                        <a:cs typeface="Arial" panose="020B0604020202020204" pitchFamily="34" charset="0"/>
                      </a:rPr>
                      <m:t>𝑦</m:t>
                    </m:r>
                    <m:r>
                      <a:rPr lang="en-US" sz="1700" i="1" dirty="0" smtClean="0">
                        <a:latin typeface="Cambria Math"/>
                        <a:cs typeface="Arial" panose="020B0604020202020204" pitchFamily="34" charset="0"/>
                      </a:rPr>
                      <m:t>=300</m:t>
                    </m:r>
                  </m:oMath>
                </a14:m>
                <a:r>
                  <a:rPr lang="ru-RU" sz="17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.</a:t>
                </a:r>
              </a:p>
              <a:p>
                <a:r>
                  <a:rPr lang="ru-RU" sz="17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Стоимость всех электронных учебников составит </a:t>
                </a:r>
                <a:r>
                  <a:rPr lang="ru-RU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ru-RU" i="1" dirty="0" smtClean="0">
                        <a:latin typeface="Cambria Math"/>
                        <a:cs typeface="Arial" panose="020B0604020202020204" pitchFamily="34" charset="0"/>
                      </a:rPr>
                      <m:t>80</m:t>
                    </m:r>
                    <m:r>
                      <a:rPr lang="en-US" i="1" dirty="0" smtClean="0">
                        <a:latin typeface="Cambria Math"/>
                        <a:cs typeface="Arial" panose="020B0604020202020204" pitchFamily="34" charset="0"/>
                      </a:rPr>
                      <m:t>𝑥</m:t>
                    </m:r>
                  </m:oMath>
                </a14:m>
                <a:r>
                  <a:rPr lang="ru-RU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 рублей, а стоимость печатных книг </a:t>
                </a:r>
                <a14:m>
                  <m:oMath xmlns:m="http://schemas.openxmlformats.org/officeDocument/2006/math">
                    <m:r>
                      <a:rPr lang="ru-RU" i="1" dirty="0" smtClean="0">
                        <a:latin typeface="Cambria Math"/>
                        <a:cs typeface="Arial" panose="020B0604020202020204" pitchFamily="34" charset="0"/>
                      </a:rPr>
                      <m:t>240</m:t>
                    </m:r>
                    <m:r>
                      <a:rPr lang="en-US" i="1" dirty="0" smtClean="0">
                        <a:latin typeface="Cambria Math"/>
                        <a:cs typeface="Arial" panose="020B0604020202020204" pitchFamily="34" charset="0"/>
                      </a:rPr>
                      <m:t>𝑦</m:t>
                    </m:r>
                  </m:oMath>
                </a14:m>
                <a:r>
                  <a:rPr lang="ru-RU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 рублей. Сумма на приобретение всех книг 56000 рублей.</a:t>
                </a:r>
              </a:p>
              <a:p>
                <a:r>
                  <a:rPr lang="ru-RU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Второе уравнение: </a:t>
                </a:r>
                <a14:m>
                  <m:oMath xmlns:m="http://schemas.openxmlformats.org/officeDocument/2006/math">
                    <m:r>
                      <a:rPr lang="en-US" i="1" dirty="0" smtClean="0">
                        <a:latin typeface="Cambria Math"/>
                        <a:cs typeface="Arial" panose="020B0604020202020204" pitchFamily="34" charset="0"/>
                      </a:rPr>
                      <m:t>80</m:t>
                    </m:r>
                    <m:r>
                      <a:rPr lang="en-US" i="1" dirty="0" smtClean="0">
                        <a:latin typeface="Cambria Math"/>
                        <a:cs typeface="Arial" panose="020B0604020202020204" pitchFamily="34" charset="0"/>
                      </a:rPr>
                      <m:t>𝑥</m:t>
                    </m:r>
                    <m:r>
                      <a:rPr lang="ru-RU" i="1" dirty="0" smtClean="0">
                        <a:latin typeface="Cambria Math"/>
                        <a:cs typeface="Arial" panose="020B0604020202020204" pitchFamily="34" charset="0"/>
                      </a:rPr>
                      <m:t>+</m:t>
                    </m:r>
                    <m:r>
                      <a:rPr lang="ru-RU" i="1" dirty="0">
                        <a:latin typeface="Cambria Math"/>
                        <a:cs typeface="Arial" panose="020B0604020202020204" pitchFamily="34" charset="0"/>
                      </a:rPr>
                      <m:t> </m:t>
                    </m:r>
                    <m:r>
                      <a:rPr lang="en-US" i="1" dirty="0" smtClean="0">
                        <a:latin typeface="Cambria Math"/>
                        <a:cs typeface="Arial" panose="020B0604020202020204" pitchFamily="34" charset="0"/>
                      </a:rPr>
                      <m:t>240</m:t>
                    </m:r>
                    <m:r>
                      <a:rPr lang="en-US" i="1" dirty="0" smtClean="0">
                        <a:latin typeface="Cambria Math"/>
                        <a:cs typeface="Arial" panose="020B0604020202020204" pitchFamily="34" charset="0"/>
                      </a:rPr>
                      <m:t>𝑦</m:t>
                    </m:r>
                    <m:r>
                      <a:rPr lang="ru-RU" i="1" dirty="0" smtClean="0">
                        <a:latin typeface="Cambria Math"/>
                        <a:cs typeface="Arial" panose="020B0604020202020204" pitchFamily="34" charset="0"/>
                      </a:rPr>
                      <m:t>= </m:t>
                    </m:r>
                    <m:r>
                      <a:rPr lang="en-US" i="1" dirty="0" smtClean="0">
                        <a:latin typeface="Cambria Math"/>
                        <a:cs typeface="Arial" panose="020B0604020202020204" pitchFamily="34" charset="0"/>
                      </a:rPr>
                      <m:t>56000</m:t>
                    </m:r>
                    <m:r>
                      <a:rPr lang="en-US" b="0" i="1" dirty="0" smtClean="0">
                        <a:latin typeface="Cambria Math"/>
                        <a:cs typeface="Arial" panose="020B0604020202020204" pitchFamily="34" charset="0"/>
                      </a:rPr>
                      <m:t>.</m:t>
                    </m:r>
                  </m:oMath>
                </a14:m>
                <a:endParaRPr lang="ru-RU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9" name="Прямоугольник 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7973" y="2615888"/>
                <a:ext cx="11693818" cy="1708160"/>
              </a:xfrm>
              <a:prstGeom prst="rect">
                <a:avLst/>
              </a:prstGeom>
              <a:blipFill rotWithShape="1">
                <a:blip r:embed="rId4"/>
                <a:stretch>
                  <a:fillRect l="-469" t="-1071" r="-938" b="-500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/>
              <p:cNvSpPr txBox="1"/>
              <p:nvPr/>
            </p:nvSpPr>
            <p:spPr>
              <a:xfrm>
                <a:off x="4428698" y="4337696"/>
                <a:ext cx="2697533" cy="61491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{"/>
                          <m:endChr m:val=""/>
                          <m:ctrlPr>
                            <a:rPr lang="ru-RU" i="1" smtClean="0">
                              <a:latin typeface="Cambria Math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ru-RU" i="1" smtClean="0">
                                  <a:latin typeface="Cambria Math"/>
                                </a:rPr>
                              </m:ctrlPr>
                            </m:eqArrPr>
                            <m:e>
                              <m:r>
                                <a:rPr lang="en-US" i="1" dirty="0">
                                  <a:latin typeface="Cambria Math"/>
                                  <a:cs typeface="Arial" panose="020B0604020202020204" pitchFamily="34" charset="0"/>
                                </a:rPr>
                                <m:t>𝑥</m:t>
                              </m:r>
                              <m:r>
                                <a:rPr lang="en-US" i="1" dirty="0">
                                  <a:latin typeface="Cambria Math"/>
                                  <a:cs typeface="Arial" panose="020B0604020202020204" pitchFamily="34" charset="0"/>
                                </a:rPr>
                                <m:t>+</m:t>
                              </m:r>
                              <m:r>
                                <a:rPr lang="en-US" i="1" dirty="0">
                                  <a:latin typeface="Cambria Math"/>
                                  <a:cs typeface="Arial" panose="020B0604020202020204" pitchFamily="34" charset="0"/>
                                </a:rPr>
                                <m:t>𝑦</m:t>
                              </m:r>
                              <m:r>
                                <a:rPr lang="en-US" i="1" dirty="0">
                                  <a:latin typeface="Cambria Math"/>
                                  <a:cs typeface="Arial" panose="020B0604020202020204" pitchFamily="34" charset="0"/>
                                </a:rPr>
                                <m:t>=300,                     </m:t>
                              </m:r>
                            </m:e>
                            <m:e>
                              <m:r>
                                <a:rPr lang="en-US" i="1" dirty="0">
                                  <a:latin typeface="Cambria Math"/>
                                  <a:cs typeface="Arial" panose="020B0604020202020204" pitchFamily="34" charset="0"/>
                                </a:rPr>
                                <m:t>80</m:t>
                              </m:r>
                              <m:r>
                                <a:rPr lang="en-US" i="1" dirty="0">
                                  <a:latin typeface="Cambria Math"/>
                                  <a:cs typeface="Arial" panose="020B0604020202020204" pitchFamily="34" charset="0"/>
                                </a:rPr>
                                <m:t>𝑥</m:t>
                              </m:r>
                              <m:r>
                                <a:rPr lang="ru-RU" i="1" dirty="0">
                                  <a:latin typeface="Cambria Math"/>
                                  <a:cs typeface="Arial" panose="020B0604020202020204" pitchFamily="34" charset="0"/>
                                </a:rPr>
                                <m:t>+ </m:t>
                              </m:r>
                              <m:r>
                                <a:rPr lang="en-US" i="1" dirty="0">
                                  <a:latin typeface="Cambria Math"/>
                                  <a:cs typeface="Arial" panose="020B0604020202020204" pitchFamily="34" charset="0"/>
                                </a:rPr>
                                <m:t>240</m:t>
                              </m:r>
                              <m:r>
                                <a:rPr lang="en-US" i="1" dirty="0">
                                  <a:latin typeface="Cambria Math"/>
                                  <a:cs typeface="Arial" panose="020B0604020202020204" pitchFamily="34" charset="0"/>
                                </a:rPr>
                                <m:t>𝑦</m:t>
                              </m:r>
                              <m:r>
                                <a:rPr lang="ru-RU" i="1" dirty="0">
                                  <a:latin typeface="Cambria Math"/>
                                  <a:cs typeface="Arial" panose="020B0604020202020204" pitchFamily="34" charset="0"/>
                                </a:rPr>
                                <m:t>= </m:t>
                              </m:r>
                              <m:r>
                                <a:rPr lang="en-US" i="1" dirty="0">
                                  <a:latin typeface="Cambria Math"/>
                                  <a:cs typeface="Arial" panose="020B0604020202020204" pitchFamily="34" charset="0"/>
                                </a:rPr>
                                <m:t>56000.</m:t>
                              </m:r>
                              <m:r>
                                <m:rPr>
                                  <m:nor/>
                                </m:rPr>
                                <a:rPr lang="ru-RU" sz="1600" dirty="0">
                                  <a:latin typeface="Arial" panose="020B0604020202020204" pitchFamily="34" charset="0"/>
                                  <a:cs typeface="Arial" panose="020B0604020202020204" pitchFamily="34" charset="0"/>
                                </a:rPr>
                                <m:t> 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2" name="TextBox 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28698" y="4337696"/>
                <a:ext cx="2697533" cy="614912"/>
              </a:xfrm>
              <a:prstGeom prst="rect">
                <a:avLst/>
              </a:prstGeom>
              <a:blipFill rotWithShape="1"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4442343" y="4979139"/>
                <a:ext cx="1857560" cy="60933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{"/>
                          <m:endChr m:val=""/>
                          <m:ctrlPr>
                            <a:rPr lang="ru-RU" i="1" smtClean="0">
                              <a:latin typeface="Cambria Math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ru-RU" i="1" smtClean="0">
                                  <a:latin typeface="Cambria Math"/>
                                </a:rPr>
                              </m:ctrlPr>
                            </m:eqArrPr>
                            <m:e>
                              <m:r>
                                <a:rPr lang="en-US" i="1" dirty="0">
                                  <a:latin typeface="Cambria Math"/>
                                  <a:cs typeface="Arial" panose="020B0604020202020204" pitchFamily="34" charset="0"/>
                                </a:rPr>
                                <m:t>𝑥</m:t>
                              </m:r>
                              <m:r>
                                <a:rPr lang="en-US" i="1" dirty="0">
                                  <a:latin typeface="Cambria Math"/>
                                  <a:cs typeface="Arial" panose="020B0604020202020204" pitchFamily="34" charset="0"/>
                                </a:rPr>
                                <m:t>+</m:t>
                              </m:r>
                              <m:r>
                                <a:rPr lang="en-US" i="1" dirty="0">
                                  <a:latin typeface="Cambria Math"/>
                                  <a:cs typeface="Arial" panose="020B0604020202020204" pitchFamily="34" charset="0"/>
                                </a:rPr>
                                <m:t>𝑦</m:t>
                              </m:r>
                              <m:r>
                                <a:rPr lang="en-US" i="1" dirty="0">
                                  <a:latin typeface="Cambria Math"/>
                                  <a:cs typeface="Arial" panose="020B0604020202020204" pitchFamily="34" charset="0"/>
                                </a:rPr>
                                <m:t>=300,      </m:t>
                              </m:r>
                            </m:e>
                            <m:e>
                              <m:r>
                                <a:rPr lang="en-US" i="1" dirty="0">
                                  <a:latin typeface="Cambria Math"/>
                                  <a:cs typeface="Arial" panose="020B0604020202020204" pitchFamily="34" charset="0"/>
                                </a:rPr>
                                <m:t>𝑥</m:t>
                              </m:r>
                              <m:r>
                                <a:rPr lang="ru-RU" i="1" dirty="0">
                                  <a:latin typeface="Cambria Math"/>
                                  <a:cs typeface="Arial" panose="020B0604020202020204" pitchFamily="34" charset="0"/>
                                </a:rPr>
                                <m:t>+</m:t>
                              </m:r>
                              <m:r>
                                <a:rPr lang="ru-RU" b="0" i="1" dirty="0" smtClean="0">
                                  <a:latin typeface="Cambria Math"/>
                                  <a:cs typeface="Arial" panose="020B0604020202020204" pitchFamily="34" charset="0"/>
                                </a:rPr>
                                <m:t>3</m:t>
                              </m:r>
                              <m:r>
                                <a:rPr lang="en-US" i="1" dirty="0">
                                  <a:latin typeface="Cambria Math"/>
                                  <a:cs typeface="Arial" panose="020B0604020202020204" pitchFamily="34" charset="0"/>
                                </a:rPr>
                                <m:t>𝑦</m:t>
                              </m:r>
                              <m:r>
                                <a:rPr lang="ru-RU" i="1" dirty="0">
                                  <a:latin typeface="Cambria Math"/>
                                  <a:cs typeface="Arial" panose="020B0604020202020204" pitchFamily="34" charset="0"/>
                                </a:rPr>
                                <m:t>=</m:t>
                              </m:r>
                              <m:r>
                                <a:rPr lang="ru-RU" b="0" i="1" dirty="0" smtClean="0">
                                  <a:latin typeface="Cambria Math"/>
                                  <a:cs typeface="Arial" panose="020B0604020202020204" pitchFamily="34" charset="0"/>
                                </a:rPr>
                                <m:t>700</m:t>
                              </m:r>
                              <m:r>
                                <a:rPr lang="en-US" i="1" dirty="0">
                                  <a:latin typeface="Cambria Math"/>
                                  <a:cs typeface="Arial" panose="020B0604020202020204" pitchFamily="34" charset="0"/>
                                </a:rPr>
                                <m:t>.</m:t>
                              </m:r>
                              <m:r>
                                <m:rPr>
                                  <m:nor/>
                                </m:rPr>
                                <a:rPr lang="ru-RU" sz="1600" dirty="0">
                                  <a:latin typeface="Arial" panose="020B0604020202020204" pitchFamily="34" charset="0"/>
                                  <a:cs typeface="Arial" panose="020B0604020202020204" pitchFamily="34" charset="0"/>
                                </a:rPr>
                                <m:t> 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42343" y="4979139"/>
                <a:ext cx="1857560" cy="609334"/>
              </a:xfrm>
              <a:prstGeom prst="rect">
                <a:avLst/>
              </a:prstGeom>
              <a:blipFill rotWithShape="1"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/>
              <p:cNvSpPr txBox="1"/>
              <p:nvPr/>
            </p:nvSpPr>
            <p:spPr>
              <a:xfrm>
                <a:off x="4442343" y="5688822"/>
                <a:ext cx="1294136" cy="60157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{"/>
                          <m:endChr m:val=""/>
                          <m:ctrlPr>
                            <a:rPr lang="ru-RU" i="1" smtClean="0">
                              <a:latin typeface="Cambria Math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ru-RU" i="1" smtClean="0">
                                  <a:latin typeface="Cambria Math"/>
                                </a:rPr>
                              </m:ctrlPr>
                            </m:eqArrPr>
                            <m:e>
                              <m:r>
                                <a:rPr lang="en-US" b="0" i="1" dirty="0" smtClean="0">
                                  <a:latin typeface="Cambria Math"/>
                                  <a:cs typeface="Arial" panose="020B0604020202020204" pitchFamily="34" charset="0"/>
                                </a:rPr>
                                <m:t>𝑥</m:t>
                              </m:r>
                              <m:r>
                                <a:rPr lang="en-US" i="1" dirty="0">
                                  <a:latin typeface="Cambria Math"/>
                                  <a:cs typeface="Arial" panose="020B0604020202020204" pitchFamily="34" charset="0"/>
                                </a:rPr>
                                <m:t>=</m:t>
                              </m:r>
                              <m:r>
                                <a:rPr lang="en-US" b="0" i="1" dirty="0" smtClean="0">
                                  <a:latin typeface="Cambria Math"/>
                                  <a:cs typeface="Arial" panose="020B0604020202020204" pitchFamily="34" charset="0"/>
                                </a:rPr>
                                <m:t>1</m:t>
                              </m:r>
                              <m:r>
                                <a:rPr lang="en-US" i="1" dirty="0">
                                  <a:latin typeface="Cambria Math"/>
                                  <a:cs typeface="Arial" panose="020B0604020202020204" pitchFamily="34" charset="0"/>
                                </a:rPr>
                                <m:t>00</m:t>
                              </m:r>
                              <m:r>
                                <a:rPr lang="en-US" b="0" i="1" dirty="0" smtClean="0">
                                  <a:latin typeface="Cambria Math"/>
                                  <a:cs typeface="Arial" panose="020B0604020202020204" pitchFamily="34" charset="0"/>
                                </a:rPr>
                                <m:t>,    </m:t>
                              </m:r>
                            </m:e>
                            <m:e>
                              <m:r>
                                <a:rPr lang="en-US" i="1" dirty="0">
                                  <a:latin typeface="Cambria Math"/>
                                  <a:cs typeface="Arial" panose="020B0604020202020204" pitchFamily="34" charset="0"/>
                                </a:rPr>
                                <m:t>𝑦</m:t>
                              </m:r>
                              <m:r>
                                <a:rPr lang="ru-RU" i="1" dirty="0">
                                  <a:latin typeface="Cambria Math"/>
                                  <a:cs typeface="Arial" panose="020B0604020202020204" pitchFamily="34" charset="0"/>
                                </a:rPr>
                                <m:t>=</m:t>
                              </m:r>
                              <m:r>
                                <a:rPr lang="en-US" b="0" i="1" dirty="0" smtClean="0">
                                  <a:latin typeface="Cambria Math"/>
                                  <a:cs typeface="Arial" panose="020B0604020202020204" pitchFamily="34" charset="0"/>
                                </a:rPr>
                                <m:t>4</m:t>
                              </m:r>
                              <m:r>
                                <a:rPr lang="ru-RU" b="0" i="1" dirty="0" smtClean="0">
                                  <a:latin typeface="Cambria Math"/>
                                  <a:cs typeface="Arial" panose="020B0604020202020204" pitchFamily="34" charset="0"/>
                                </a:rPr>
                                <m:t>00</m:t>
                              </m:r>
                              <m:r>
                                <a:rPr lang="en-US" i="1" dirty="0">
                                  <a:latin typeface="Cambria Math"/>
                                  <a:cs typeface="Arial" panose="020B0604020202020204" pitchFamily="34" charset="0"/>
                                </a:rPr>
                                <m:t>.</m:t>
                              </m:r>
                              <m:r>
                                <m:rPr>
                                  <m:nor/>
                                </m:rPr>
                                <a:rPr lang="ru-RU" sz="1600" dirty="0">
                                  <a:latin typeface="Arial" panose="020B0604020202020204" pitchFamily="34" charset="0"/>
                                  <a:cs typeface="Arial" panose="020B0604020202020204" pitchFamily="34" charset="0"/>
                                </a:rPr>
                                <m:t> 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12" name="TextBox 1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42343" y="5688822"/>
                <a:ext cx="1294136" cy="601575"/>
              </a:xfrm>
              <a:prstGeom prst="rect">
                <a:avLst/>
              </a:prstGeom>
              <a:blipFill rotWithShape="1"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Прямоугольник 13"/>
          <p:cNvSpPr/>
          <p:nvPr/>
        </p:nvSpPr>
        <p:spPr>
          <a:xfrm>
            <a:off x="2345825" y="6320459"/>
            <a:ext cx="68199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Ответ: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100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 электронных учебников и 200 печатных книг.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563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0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Прямоугольник 37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</a:t>
            </a:r>
            <a:r>
              <a:rPr lang="ru-RU" sz="700" dirty="0" smtClean="0">
                <a:solidFill>
                  <a:schemeClr val="bg1">
                    <a:lumMod val="65000"/>
                  </a:schemeClr>
                </a:solidFill>
              </a:rPr>
              <a:t>АО «Издательство «Просвещение» 2020</a:t>
            </a:r>
            <a:endParaRPr lang="ru-RU" sz="700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9138" y="876115"/>
            <a:ext cx="2692850" cy="3769989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</p:spPr>
      </p:pic>
      <p:pic>
        <p:nvPicPr>
          <p:cNvPr id="35" name="Picture 73" descr="C:\Users\EZubkova\Desktop\функциональная грамотность2\книжки по ФГ новые!\тренажеры\(cover) Естественно-научная грамотность. Живые системы. Тренажёр. 7-9  классы (Киселев Ю.П., Ямщикова Д.С._Под ред. Алексашиной И.Ю.)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848" y="962723"/>
            <a:ext cx="2733761" cy="3683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74" descr="C:\Users\EZubkova\Desktop\функциональная грамотность2\книжки по ФГ новые!\тренажеры\(cover) Естественно-научная грамотность. Земля и космические системы. Тренажёр. 7-9  классы (Ямщикова Д.С., Ляпцев А.В., Абдулаева О.А. _ Под ред. Алексашиной И.Ю.)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1087" y="2804412"/>
            <a:ext cx="2726086" cy="3683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75" descr="C:\Users\EZubkova\Desktop\функциональная грамотность2\книжки по ФГ новые!\тренажеры\(cover) Естественно-научная грамотность. Физические системы. Тренажёр. 7 – 9 классы (Ляпцев А.В., Абдулаева О.А. _ Под ред. Алексашиной И.Ю.)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9452" y="2804415"/>
            <a:ext cx="2737599" cy="3683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87" descr="http://qrcoder.ru/code/?https%3A%2F%2Fshop.prosv.ru%2Fsearch%3Fq%3D%25D1%2582%25D1%2580%25D0%25B5%25D0%25BD%25D0%25B0%25D0%25B6%23%2Forderby%3D1%26q%3D%25D1%2582%25D1%2580%25D0%25B5%25D0%25BD%25D0%25B0%25D0%25B6%26sFilters%3D21%2156334%3B13%2167611%3B&amp;4&amp;0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25406" y="917059"/>
            <a:ext cx="1866900" cy="1866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TextBox 27"/>
          <p:cNvSpPr txBox="1"/>
          <p:nvPr/>
        </p:nvSpPr>
        <p:spPr>
          <a:xfrm>
            <a:off x="192106" y="224272"/>
            <a:ext cx="10509189" cy="409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8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Серия «Функциональная Грамотность</a:t>
            </a: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. Тренажёры»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47831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69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Прямоугольник 37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</a:t>
            </a:r>
            <a:r>
              <a:rPr lang="ru-RU" sz="700" dirty="0" smtClean="0">
                <a:solidFill>
                  <a:schemeClr val="bg1">
                    <a:lumMod val="65000"/>
                  </a:schemeClr>
                </a:solidFill>
              </a:rPr>
              <a:t>АО «Издательство «Просвещение» 2020</a:t>
            </a:r>
            <a:endParaRPr lang="ru-RU" sz="7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92106" y="224272"/>
            <a:ext cx="10509189" cy="409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8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Серия «Эталонные задания. Учимся для жизни»</a:t>
            </a:r>
          </a:p>
        </p:txBody>
      </p:sp>
      <p:pic>
        <p:nvPicPr>
          <p:cNvPr id="29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Прямая соединительная линия 10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96424" y="862366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/>
        </p:nvSpPr>
        <p:spPr>
          <a:xfrm>
            <a:off x="5578072" y="1060942"/>
            <a:ext cx="6497436" cy="40934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600" b="1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Предназначены</a:t>
            </a:r>
            <a:r>
              <a:rPr lang="ru-RU" sz="16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для </a:t>
            </a:r>
            <a:r>
              <a:rPr lang="ru-RU" sz="16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формирования </a:t>
            </a:r>
            <a:r>
              <a:rPr lang="ru-RU" sz="1600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и оценки всех аспектов функциональной грамотности, которые изучаются в международном сравнительном исследовании PISA.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600" b="1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Содержат </a:t>
            </a:r>
            <a:r>
              <a:rPr lang="ru-RU" sz="1600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обучающие и тренировочные задания, охватывающие все содержательные и </a:t>
            </a:r>
            <a:r>
              <a:rPr lang="ru-RU" sz="1600" dirty="0" err="1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компетентностые</a:t>
            </a:r>
            <a:r>
              <a:rPr lang="ru-RU" sz="1600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аспекты оценки функциональной грамотности по каждой из областей. Приводятся развернутые описания особенностей оценки заданий, рекомендации по использованию системы заданий и их оценки. Все задания построены на основе реальных жизненных ситуаций. 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600" b="1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Могут быть использованы </a:t>
            </a:r>
            <a:r>
              <a:rPr lang="ru-RU" sz="1600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в обучающих целях педагогами на уроках и во внеурочной деятельности, а также администрацией школы для организации </a:t>
            </a:r>
            <a:r>
              <a:rPr lang="ru-RU" sz="1600" dirty="0" err="1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внутришкольного</a:t>
            </a:r>
            <a:r>
              <a:rPr lang="ru-RU" sz="1600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мониторинга по оценке функциональной грамотности учащихся 5 </a:t>
            </a:r>
            <a:r>
              <a:rPr lang="en-US" sz="16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-</a:t>
            </a:r>
            <a:r>
              <a:rPr lang="ru-RU" sz="16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7 классов</a:t>
            </a:r>
            <a:r>
              <a:rPr lang="ru-RU" sz="16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.</a:t>
            </a:r>
            <a:endParaRPr lang="ru-RU" sz="1600" b="1" dirty="0"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497" y="3482349"/>
            <a:ext cx="1449015" cy="191240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1953" y="1251212"/>
            <a:ext cx="1556354" cy="205406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3035" y="1193926"/>
            <a:ext cx="1629015" cy="21499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8216" y="3525970"/>
            <a:ext cx="1434413" cy="189312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2543" y="3547674"/>
            <a:ext cx="1408486" cy="185891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5344" y="3539002"/>
            <a:ext cx="1436059" cy="189530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326" y="1248795"/>
            <a:ext cx="1519798" cy="200582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867" y="1237688"/>
            <a:ext cx="1553801" cy="205069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2" name="Picture 23" descr="http://qrcoder.ru/code/?https%3A%2F%2Fshop.prosv.ru%2Fsearch%3Fq%3D%25D1%258D%25D1%2582%25D0%25B0%25D0%25BB%25D0%25BE%25D0%25BD%23%2Forderby%3D1%26q%3D%25D1%258D%25D1%2582%25D0%25B0%25D0%25BB%25D0%25BE%25D0%25BD%26sFilters%3D21%2156334%3B13%2181288%3B&amp;4&amp;0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9640" y="4888116"/>
            <a:ext cx="1866900" cy="1866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39375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58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Прямоугольник 37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</a:t>
            </a:r>
            <a:r>
              <a:rPr lang="ru-RU" sz="700" dirty="0" smtClean="0">
                <a:solidFill>
                  <a:schemeClr val="bg1">
                    <a:lumMod val="65000"/>
                  </a:schemeClr>
                </a:solidFill>
              </a:rPr>
              <a:t>АО «Издательство «Просвещение» 2020</a:t>
            </a:r>
            <a:endParaRPr lang="ru-RU" sz="7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92106" y="224272"/>
            <a:ext cx="10509189" cy="409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8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Серия </a:t>
            </a: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«Задачник»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Прямая соединительная линия 10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96424" y="862366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426" name="Picture 2" descr="http://qrcoder.ru/code/?https%3A%2F%2Fshop.prosv.ru%2Fsearch%3Fq%3D%25D0%2597%25D0%25B0%25D0%25B4%25D0%25B0%25D1%2587%25D0%25BD%25D0%25B8%25D0%25BA%23%2Forderby%3D1%26q%3D%25D0%2597%25D0%25B0%25D0%25B4%25D0%25B0%25D1%2587%25D0%25BD%25D0%25B8%25D0%25BA%26sFilters%3D21%2156334%3B4%212304%3B2%211721%2C1732%3B13%212969%3B&amp;4&amp;0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0267" y="4686299"/>
            <a:ext cx="2171700" cy="2171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28" name="Picture 4" descr="Изображение Задачи повышенной сложности по геометрии. 7 класс.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570" y="2186603"/>
            <a:ext cx="2496503" cy="32614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30" name="Picture 6" descr="Изображение Сборник задач по алгебре. 8–9 классы.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7573" y="874816"/>
            <a:ext cx="2122916" cy="326146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32" name="Picture 8" descr="Изображение Задачи по геометрии. 7–11 классы.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8293" y="1326795"/>
            <a:ext cx="2111057" cy="32614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34" name="Picture 10" descr="Изображение Тысяча и одна задача по математике. 5 — 7 классы.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54770" y="2242977"/>
            <a:ext cx="2342324" cy="326146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37" name="Picture 13" descr="Изображение Геометрия. Задачи по планиметрии. 7-9 классы.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0308" y="862366"/>
            <a:ext cx="2464364" cy="32739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4613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30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Прямоугольник 37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</a:t>
            </a:r>
            <a:r>
              <a:rPr lang="ru-RU" sz="700" dirty="0" smtClean="0">
                <a:solidFill>
                  <a:schemeClr val="bg1">
                    <a:lumMod val="65000"/>
                  </a:schemeClr>
                </a:solidFill>
              </a:rPr>
              <a:t>АО «Издательство «Просвещение» 2020</a:t>
            </a:r>
            <a:endParaRPr lang="ru-RU" sz="7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51172" y="399704"/>
            <a:ext cx="10509189" cy="3508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4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Алгебра. 7 класс. Макарычев Ю. Н., </a:t>
            </a:r>
            <a:r>
              <a:rPr lang="ru-RU" sz="2400" b="1" spc="-40" dirty="0" err="1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Миндюк</a:t>
            </a:r>
            <a:r>
              <a:rPr lang="ru-RU" sz="24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Н. Г., </a:t>
            </a:r>
            <a:r>
              <a:rPr lang="ru-RU" sz="2400" b="1" spc="-40" dirty="0" err="1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Нешков</a:t>
            </a:r>
            <a:r>
              <a:rPr lang="ru-RU" sz="24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К. И. и др. </a:t>
            </a:r>
          </a:p>
        </p:txBody>
      </p:sp>
      <p:pic>
        <p:nvPicPr>
          <p:cNvPr id="29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3" t="1550" r="2083" b="813"/>
          <a:stretch/>
        </p:blipFill>
        <p:spPr bwMode="auto">
          <a:xfrm>
            <a:off x="204716" y="1094218"/>
            <a:ext cx="1893708" cy="2593556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4" name="Прямая соединительная линия 13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132648" y="889662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4649" y="957379"/>
            <a:ext cx="6004819" cy="17953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4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23997" y="957379"/>
            <a:ext cx="1839278" cy="15095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" name="Прямая соединительная линия 16"/>
          <p:cNvCxnSpPr/>
          <p:nvPr/>
        </p:nvCxnSpPr>
        <p:spPr>
          <a:xfrm flipH="1">
            <a:off x="4492995" y="1320800"/>
            <a:ext cx="2180855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/>
        </p:nvCxnSpPr>
        <p:spPr>
          <a:xfrm flipH="1">
            <a:off x="7179046" y="1308100"/>
            <a:ext cx="1539504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 flipH="1">
            <a:off x="3953246" y="1593850"/>
            <a:ext cx="539749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>
            <a:stCxn id="15" idx="3"/>
          </p:cNvCxnSpPr>
          <p:nvPr/>
        </p:nvCxnSpPr>
        <p:spPr>
          <a:xfrm flipH="1" flipV="1">
            <a:off x="7045226" y="1855051"/>
            <a:ext cx="1874242" cy="1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 flipH="1">
            <a:off x="3953247" y="2132541"/>
            <a:ext cx="377453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/>
        </p:nvCxnSpPr>
        <p:spPr>
          <a:xfrm flipH="1">
            <a:off x="4537446" y="2132541"/>
            <a:ext cx="1984004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 flipH="1">
            <a:off x="3953248" y="2419350"/>
            <a:ext cx="631452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2537917" y="2840592"/>
            <a:ext cx="270083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Составление схемы</a:t>
            </a:r>
            <a:endParaRPr lang="ru-RU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5" name="Группа 24"/>
          <p:cNvGrpSpPr/>
          <p:nvPr/>
        </p:nvGrpSpPr>
        <p:grpSpPr>
          <a:xfrm>
            <a:off x="2537916" y="3514725"/>
            <a:ext cx="1214934" cy="1838325"/>
            <a:chOff x="2537916" y="3514725"/>
            <a:chExt cx="1214934" cy="1838325"/>
          </a:xfrm>
        </p:grpSpPr>
        <p:grpSp>
          <p:nvGrpSpPr>
            <p:cNvPr id="26" name="Группа 25"/>
            <p:cNvGrpSpPr/>
            <p:nvPr/>
          </p:nvGrpSpPr>
          <p:grpSpPr>
            <a:xfrm>
              <a:off x="2537917" y="3514725"/>
              <a:ext cx="1214933" cy="1838325"/>
              <a:chOff x="2537917" y="3514725"/>
              <a:chExt cx="1214933" cy="1838325"/>
            </a:xfrm>
          </p:grpSpPr>
          <p:sp>
            <p:nvSpPr>
              <p:cNvPr id="31" name="Скругленный прямоугольник 30"/>
              <p:cNvSpPr/>
              <p:nvPr/>
            </p:nvSpPr>
            <p:spPr>
              <a:xfrm>
                <a:off x="2537917" y="3514725"/>
                <a:ext cx="1214933" cy="1838325"/>
              </a:xfrm>
              <a:prstGeom prst="roundRect">
                <a:avLst/>
              </a:prstGeom>
              <a:noFill/>
              <a:ln w="38100">
                <a:solidFill>
                  <a:srgbClr val="29479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cxnSp>
            <p:nvCxnSpPr>
              <p:cNvPr id="32" name="Прямая соединительная линия 31"/>
              <p:cNvCxnSpPr/>
              <p:nvPr/>
            </p:nvCxnSpPr>
            <p:spPr>
              <a:xfrm>
                <a:off x="2537917" y="4210050"/>
                <a:ext cx="1214933" cy="0"/>
              </a:xfrm>
              <a:prstGeom prst="line">
                <a:avLst/>
              </a:prstGeom>
              <a:ln w="57150">
                <a:solidFill>
                  <a:srgbClr val="29479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7" name="TextBox 26"/>
            <p:cNvSpPr txBox="1"/>
            <p:nvPr/>
          </p:nvSpPr>
          <p:spPr>
            <a:xfrm>
              <a:off x="2537917" y="4210050"/>
              <a:ext cx="121493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i="1" dirty="0" smtClean="0"/>
                <a:t>чистое вещество</a:t>
              </a:r>
              <a:endParaRPr lang="ru-RU" sz="1600" b="1" i="1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2537916" y="3696682"/>
              <a:ext cx="121493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i="1" dirty="0" smtClean="0"/>
                <a:t>вода</a:t>
              </a:r>
              <a:endParaRPr lang="ru-RU" sz="1600" b="1" i="1" dirty="0"/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4585070" y="3524310"/>
            <a:ext cx="1214934" cy="1838325"/>
            <a:chOff x="2537916" y="3514725"/>
            <a:chExt cx="1214934" cy="1838325"/>
          </a:xfrm>
        </p:grpSpPr>
        <p:grpSp>
          <p:nvGrpSpPr>
            <p:cNvPr id="34" name="Группа 33"/>
            <p:cNvGrpSpPr/>
            <p:nvPr/>
          </p:nvGrpSpPr>
          <p:grpSpPr>
            <a:xfrm>
              <a:off x="2537917" y="3514725"/>
              <a:ext cx="1214933" cy="1838325"/>
              <a:chOff x="2537917" y="3514725"/>
              <a:chExt cx="1214933" cy="1838325"/>
            </a:xfrm>
          </p:grpSpPr>
          <p:sp>
            <p:nvSpPr>
              <p:cNvPr id="37" name="Скругленный прямоугольник 36"/>
              <p:cNvSpPr/>
              <p:nvPr/>
            </p:nvSpPr>
            <p:spPr>
              <a:xfrm>
                <a:off x="2537917" y="3514725"/>
                <a:ext cx="1214933" cy="1838325"/>
              </a:xfrm>
              <a:prstGeom prst="roundRect">
                <a:avLst/>
              </a:prstGeom>
              <a:noFill/>
              <a:ln w="38100">
                <a:solidFill>
                  <a:srgbClr val="29479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cxnSp>
            <p:nvCxnSpPr>
              <p:cNvPr id="39" name="Прямая соединительная линия 38"/>
              <p:cNvCxnSpPr/>
              <p:nvPr/>
            </p:nvCxnSpPr>
            <p:spPr>
              <a:xfrm>
                <a:off x="2537917" y="4210050"/>
                <a:ext cx="1214933" cy="0"/>
              </a:xfrm>
              <a:prstGeom prst="line">
                <a:avLst/>
              </a:prstGeom>
              <a:ln w="57150">
                <a:solidFill>
                  <a:srgbClr val="29479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5" name="TextBox 34"/>
            <p:cNvSpPr txBox="1"/>
            <p:nvPr/>
          </p:nvSpPr>
          <p:spPr>
            <a:xfrm>
              <a:off x="2537917" y="4210050"/>
              <a:ext cx="121493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i="1" dirty="0" smtClean="0"/>
                <a:t>чистое вещество</a:t>
              </a:r>
              <a:endParaRPr lang="ru-RU" sz="1600" b="1" i="1" dirty="0"/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2537916" y="3696682"/>
              <a:ext cx="121493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i="1" dirty="0" smtClean="0"/>
                <a:t>вода</a:t>
              </a:r>
              <a:endParaRPr lang="ru-RU" sz="1600" b="1" i="1" dirty="0"/>
            </a:p>
          </p:txBody>
        </p:sp>
      </p:grpSp>
      <p:grpSp>
        <p:nvGrpSpPr>
          <p:cNvPr id="40" name="Группа 39"/>
          <p:cNvGrpSpPr/>
          <p:nvPr/>
        </p:nvGrpSpPr>
        <p:grpSpPr>
          <a:xfrm>
            <a:off x="6623123" y="3533895"/>
            <a:ext cx="1214934" cy="1838325"/>
            <a:chOff x="2537916" y="3514725"/>
            <a:chExt cx="1214934" cy="1838325"/>
          </a:xfrm>
        </p:grpSpPr>
        <p:grpSp>
          <p:nvGrpSpPr>
            <p:cNvPr id="41" name="Группа 40"/>
            <p:cNvGrpSpPr/>
            <p:nvPr/>
          </p:nvGrpSpPr>
          <p:grpSpPr>
            <a:xfrm>
              <a:off x="2537917" y="3514725"/>
              <a:ext cx="1214933" cy="1838325"/>
              <a:chOff x="2537917" y="3514725"/>
              <a:chExt cx="1214933" cy="1838325"/>
            </a:xfrm>
          </p:grpSpPr>
          <p:sp>
            <p:nvSpPr>
              <p:cNvPr id="44" name="Скругленный прямоугольник 43"/>
              <p:cNvSpPr/>
              <p:nvPr/>
            </p:nvSpPr>
            <p:spPr>
              <a:xfrm>
                <a:off x="2537917" y="3514725"/>
                <a:ext cx="1214933" cy="1838325"/>
              </a:xfrm>
              <a:prstGeom prst="roundRect">
                <a:avLst/>
              </a:prstGeom>
              <a:noFill/>
              <a:ln w="38100">
                <a:solidFill>
                  <a:srgbClr val="29479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cxnSp>
            <p:nvCxnSpPr>
              <p:cNvPr id="45" name="Прямая соединительная линия 44"/>
              <p:cNvCxnSpPr/>
              <p:nvPr/>
            </p:nvCxnSpPr>
            <p:spPr>
              <a:xfrm>
                <a:off x="2537917" y="4210050"/>
                <a:ext cx="1214933" cy="0"/>
              </a:xfrm>
              <a:prstGeom prst="line">
                <a:avLst/>
              </a:prstGeom>
              <a:ln w="57150">
                <a:solidFill>
                  <a:srgbClr val="29479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2" name="TextBox 41"/>
            <p:cNvSpPr txBox="1"/>
            <p:nvPr/>
          </p:nvSpPr>
          <p:spPr>
            <a:xfrm>
              <a:off x="2537917" y="4210050"/>
              <a:ext cx="121493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i="1" dirty="0" smtClean="0"/>
                <a:t>чистое вещество</a:t>
              </a:r>
              <a:endParaRPr lang="ru-RU" sz="1600" b="1" i="1" dirty="0"/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2537916" y="3696682"/>
              <a:ext cx="121493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i="1" dirty="0" smtClean="0"/>
                <a:t>вода</a:t>
              </a:r>
              <a:endParaRPr lang="ru-RU" sz="1600" b="1" i="1" dirty="0"/>
            </a:p>
          </p:txBody>
        </p:sp>
      </p:grpSp>
      <p:sp>
        <p:nvSpPr>
          <p:cNvPr id="46" name="Плюс 45"/>
          <p:cNvSpPr/>
          <p:nvPr/>
        </p:nvSpPr>
        <p:spPr>
          <a:xfrm>
            <a:off x="3846698" y="3913283"/>
            <a:ext cx="590550" cy="622490"/>
          </a:xfrm>
          <a:prstGeom prst="mathPlus">
            <a:avLst>
              <a:gd name="adj1" fmla="val 12903"/>
            </a:avLst>
          </a:prstGeom>
          <a:solidFill>
            <a:srgbClr val="345DAE"/>
          </a:solidFill>
          <a:ln>
            <a:solidFill>
              <a:srgbClr val="0D16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Равно 46"/>
          <p:cNvSpPr/>
          <p:nvPr/>
        </p:nvSpPr>
        <p:spPr>
          <a:xfrm>
            <a:off x="5815780" y="4022794"/>
            <a:ext cx="765175" cy="414425"/>
          </a:xfrm>
          <a:prstGeom prst="mathEqual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2691794" y="5353050"/>
            <a:ext cx="697627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000" b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10%</a:t>
            </a:r>
            <a:endParaRPr lang="ru-RU" sz="2000" b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4843723" y="5372220"/>
            <a:ext cx="697627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000" b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15%</a:t>
            </a:r>
            <a:endParaRPr lang="ru-RU" sz="2000" b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6872328" y="5381806"/>
            <a:ext cx="697627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000" b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12%</a:t>
            </a:r>
            <a:endParaRPr lang="ru-RU" sz="2000" b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2909580" y="3114675"/>
            <a:ext cx="471604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000" b="1" i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ru-RU" sz="2000" b="1" i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г</a:t>
            </a:r>
            <a:endParaRPr lang="ru-RU" sz="2000" b="1" i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4963948" y="3124199"/>
            <a:ext cx="457176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000" b="1" i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y</a:t>
            </a:r>
            <a:r>
              <a:rPr lang="ru-RU" sz="2000" b="1" i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г</a:t>
            </a:r>
            <a:endParaRPr lang="ru-RU" sz="2000" b="1" i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6909998" y="3133785"/>
            <a:ext cx="622286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000" b="1" i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80</a:t>
            </a:r>
            <a:r>
              <a:rPr lang="ru-RU" sz="2000" b="1" i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г</a:t>
            </a:r>
            <a:endParaRPr lang="ru-RU" sz="2000" b="1" i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3531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3</a:t>
            </a:fld>
            <a:endParaRPr lang="ru-RU" dirty="0"/>
          </a:p>
        </p:txBody>
      </p:sp>
      <p:sp>
        <p:nvSpPr>
          <p:cNvPr id="34" name="TextBox 33"/>
          <p:cNvSpPr txBox="1"/>
          <p:nvPr/>
        </p:nvSpPr>
        <p:spPr>
          <a:xfrm>
            <a:off x="192106" y="224272"/>
            <a:ext cx="10509189" cy="409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8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Серия «Функциональная Грамотность</a:t>
            </a: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. Тренажёры»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35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75029" y="6697029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rgbClr val="002060"/>
                </a:solidFill>
              </a:rPr>
              <a:t>© АО «Издательство «Просвещение» </a:t>
            </a:r>
            <a:r>
              <a:rPr lang="ru-RU" sz="700" dirty="0" smtClean="0">
                <a:solidFill>
                  <a:srgbClr val="002060"/>
                </a:solidFill>
              </a:rPr>
              <a:t>2020</a:t>
            </a:r>
            <a:endParaRPr lang="ru-RU" sz="700" dirty="0">
              <a:solidFill>
                <a:srgbClr val="002060"/>
              </a:solidFill>
            </a:endParaRPr>
          </a:p>
        </p:txBody>
      </p:sp>
      <p:pic>
        <p:nvPicPr>
          <p:cNvPr id="1054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793" y="814225"/>
            <a:ext cx="1638300" cy="31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182793" y="1180319"/>
            <a:ext cx="11845219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На уроке биологии учитель рассказывал о том, что возраст </a:t>
            </a:r>
            <a:r>
              <a:rPr lang="ru-RU" dirty="0" smtClean="0"/>
              <a:t>каждого </a:t>
            </a:r>
            <a:r>
              <a:rPr lang="ru-RU" dirty="0"/>
              <a:t>живого организма определяется его видом и условиями </a:t>
            </a:r>
            <a:r>
              <a:rPr lang="ru-RU" dirty="0" smtClean="0"/>
              <a:t>проживания</a:t>
            </a:r>
            <a:r>
              <a:rPr lang="ru-RU" dirty="0"/>
              <a:t>. Одни деревья живут несколько десятков лет, а другие — </a:t>
            </a:r>
            <a:r>
              <a:rPr lang="ru-RU" dirty="0" smtClean="0"/>
              <a:t>столетиями </a:t>
            </a:r>
            <a:r>
              <a:rPr lang="ru-RU" dirty="0"/>
              <a:t>и тысячелетиями. Однако лесные пожары и </a:t>
            </a:r>
            <a:r>
              <a:rPr lang="ru-RU" dirty="0" smtClean="0"/>
              <a:t>ухудшающаяся экология </a:t>
            </a:r>
            <a:r>
              <a:rPr lang="ru-RU" dirty="0"/>
              <a:t>сокращают продолжительность жизни деревьев. В </a:t>
            </a:r>
            <a:r>
              <a:rPr lang="ru-RU" dirty="0" smtClean="0"/>
              <a:t>качестве </a:t>
            </a:r>
            <a:r>
              <a:rPr lang="ru-RU" dirty="0"/>
              <a:t>домашнего задания учащиеся собрали информацию о </a:t>
            </a:r>
            <a:r>
              <a:rPr lang="ru-RU" dirty="0" smtClean="0"/>
              <a:t>средней продолжительности </a:t>
            </a:r>
            <a:r>
              <a:rPr lang="ru-RU" dirty="0"/>
              <a:t>жизни деревьев на планете (</a:t>
            </a:r>
            <a:r>
              <a:rPr lang="ru-RU" i="1" dirty="0"/>
              <a:t>Таблица 10</a:t>
            </a:r>
            <a:r>
              <a:rPr lang="ru-RU" dirty="0"/>
              <a:t>).</a:t>
            </a:r>
          </a:p>
        </p:txBody>
      </p:sp>
      <p:pic>
        <p:nvPicPr>
          <p:cNvPr id="10547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7822" y="2657647"/>
            <a:ext cx="8317816" cy="29832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14103" y="5656787"/>
            <a:ext cx="1218259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Вопрос 1</a:t>
            </a:r>
          </a:p>
          <a:p>
            <a:r>
              <a:rPr lang="ru-RU" sz="2000" dirty="0"/>
              <a:t>Ученик хочет изобразить эти данные на диаграмме. </a:t>
            </a:r>
            <a:r>
              <a:rPr lang="ru-RU" sz="2000" dirty="0" smtClean="0"/>
              <a:t>Приведите </a:t>
            </a:r>
            <a:r>
              <a:rPr lang="ru-RU" sz="2000" b="1" dirty="0" smtClean="0"/>
              <a:t>одну </a:t>
            </a:r>
            <a:r>
              <a:rPr lang="ru-RU" sz="2000" dirty="0"/>
              <a:t>причину, по которой диаграмма не подходит для </a:t>
            </a:r>
            <a:r>
              <a:rPr lang="ru-RU" sz="2000" dirty="0" smtClean="0"/>
              <a:t>отображения </a:t>
            </a:r>
            <a:r>
              <a:rPr lang="ru-RU" sz="2000" dirty="0"/>
              <a:t>этих данных.</a:t>
            </a:r>
          </a:p>
        </p:txBody>
      </p:sp>
    </p:spTree>
    <p:extLst>
      <p:ext uri="{BB962C8B-B14F-4D97-AF65-F5344CB8AC3E}">
        <p14:creationId xmlns:p14="http://schemas.microsoft.com/office/powerpoint/2010/main" val="2312472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54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Прямоугольник 37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</a:t>
            </a:r>
            <a:r>
              <a:rPr lang="ru-RU" sz="700" dirty="0" smtClean="0">
                <a:solidFill>
                  <a:schemeClr val="bg1">
                    <a:lumMod val="65000"/>
                  </a:schemeClr>
                </a:solidFill>
              </a:rPr>
              <a:t>АО «Издательство «Просвещение» 2020</a:t>
            </a:r>
            <a:endParaRPr lang="ru-RU" sz="7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51172" y="399704"/>
            <a:ext cx="10509189" cy="3508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4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Алгебра. 7 класс. Макарычев Ю. Н., </a:t>
            </a:r>
            <a:r>
              <a:rPr lang="ru-RU" sz="2400" b="1" spc="-40" dirty="0" err="1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Миндюк</a:t>
            </a:r>
            <a:r>
              <a:rPr lang="ru-RU" sz="24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Н. Г., </a:t>
            </a:r>
            <a:r>
              <a:rPr lang="ru-RU" sz="2400" b="1" spc="-40" dirty="0" err="1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Нешков</a:t>
            </a:r>
            <a:r>
              <a:rPr lang="ru-RU" sz="24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К. И. и др. </a:t>
            </a:r>
          </a:p>
        </p:txBody>
      </p:sp>
      <p:pic>
        <p:nvPicPr>
          <p:cNvPr id="29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3" t="1550" r="2083" b="813"/>
          <a:stretch/>
        </p:blipFill>
        <p:spPr bwMode="auto">
          <a:xfrm>
            <a:off x="204716" y="1094218"/>
            <a:ext cx="1893708" cy="2593556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4" name="Прямая соединительная линия 13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132648" y="889662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4649" y="957379"/>
            <a:ext cx="6004819" cy="17953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4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23997" y="957379"/>
            <a:ext cx="1839278" cy="15095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" name="Прямая соединительная линия 16"/>
          <p:cNvCxnSpPr/>
          <p:nvPr/>
        </p:nvCxnSpPr>
        <p:spPr>
          <a:xfrm flipH="1">
            <a:off x="4492995" y="1320800"/>
            <a:ext cx="2180855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/>
        </p:nvCxnSpPr>
        <p:spPr>
          <a:xfrm flipH="1">
            <a:off x="7179046" y="1308100"/>
            <a:ext cx="1539504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 flipH="1">
            <a:off x="3953246" y="1593850"/>
            <a:ext cx="539749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>
            <a:stCxn id="15" idx="3"/>
          </p:cNvCxnSpPr>
          <p:nvPr/>
        </p:nvCxnSpPr>
        <p:spPr>
          <a:xfrm flipH="1" flipV="1">
            <a:off x="7045226" y="1855051"/>
            <a:ext cx="1874242" cy="1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 flipH="1">
            <a:off x="3953247" y="2132541"/>
            <a:ext cx="377453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/>
        </p:nvCxnSpPr>
        <p:spPr>
          <a:xfrm flipH="1">
            <a:off x="4537446" y="2132541"/>
            <a:ext cx="1984004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 flipH="1">
            <a:off x="3953248" y="2419350"/>
            <a:ext cx="631452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Прямоугольник 53"/>
          <p:cNvSpPr/>
          <p:nvPr/>
        </p:nvSpPr>
        <p:spPr>
          <a:xfrm>
            <a:off x="2537917" y="2840592"/>
            <a:ext cx="270083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Составление схемы</a:t>
            </a:r>
            <a:endParaRPr lang="ru-RU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5" name="Группа 54"/>
          <p:cNvGrpSpPr/>
          <p:nvPr/>
        </p:nvGrpSpPr>
        <p:grpSpPr>
          <a:xfrm>
            <a:off x="2537916" y="3514725"/>
            <a:ext cx="1214934" cy="1838325"/>
            <a:chOff x="2537916" y="3514725"/>
            <a:chExt cx="1214934" cy="1838325"/>
          </a:xfrm>
        </p:grpSpPr>
        <p:grpSp>
          <p:nvGrpSpPr>
            <p:cNvPr id="56" name="Группа 55"/>
            <p:cNvGrpSpPr/>
            <p:nvPr/>
          </p:nvGrpSpPr>
          <p:grpSpPr>
            <a:xfrm>
              <a:off x="2537917" y="3514725"/>
              <a:ext cx="1214933" cy="1838325"/>
              <a:chOff x="2537917" y="3514725"/>
              <a:chExt cx="1214933" cy="1838325"/>
            </a:xfrm>
          </p:grpSpPr>
          <p:sp>
            <p:nvSpPr>
              <p:cNvPr id="59" name="Скругленный прямоугольник 58"/>
              <p:cNvSpPr/>
              <p:nvPr/>
            </p:nvSpPr>
            <p:spPr>
              <a:xfrm>
                <a:off x="2537917" y="3514725"/>
                <a:ext cx="1214933" cy="1838325"/>
              </a:xfrm>
              <a:prstGeom prst="roundRect">
                <a:avLst/>
              </a:prstGeom>
              <a:noFill/>
              <a:ln w="38100">
                <a:solidFill>
                  <a:srgbClr val="29479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cxnSp>
            <p:nvCxnSpPr>
              <p:cNvPr id="60" name="Прямая соединительная линия 59"/>
              <p:cNvCxnSpPr/>
              <p:nvPr/>
            </p:nvCxnSpPr>
            <p:spPr>
              <a:xfrm>
                <a:off x="2537917" y="4210050"/>
                <a:ext cx="1214933" cy="0"/>
              </a:xfrm>
              <a:prstGeom prst="line">
                <a:avLst/>
              </a:prstGeom>
              <a:ln w="57150">
                <a:solidFill>
                  <a:srgbClr val="29479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7" name="TextBox 56"/>
            <p:cNvSpPr txBox="1"/>
            <p:nvPr/>
          </p:nvSpPr>
          <p:spPr>
            <a:xfrm>
              <a:off x="2537917" y="4210050"/>
              <a:ext cx="1214933" cy="8925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i="1" dirty="0" smtClean="0"/>
                <a:t>чистое вещество:</a:t>
              </a:r>
            </a:p>
            <a:p>
              <a:pPr algn="ctr"/>
              <a:r>
                <a:rPr lang="ru-RU" sz="2000" b="1" i="1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0,1</a:t>
              </a:r>
              <a:r>
                <a:rPr lang="en-US" sz="2000" b="1" i="1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x</a:t>
              </a:r>
              <a:endParaRPr lang="ru-RU" sz="2000" b="1" i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2537916" y="3696682"/>
              <a:ext cx="121493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i="1" dirty="0" smtClean="0"/>
                <a:t>вода</a:t>
              </a:r>
              <a:endParaRPr lang="ru-RU" sz="1600" b="1" i="1" dirty="0"/>
            </a:p>
          </p:txBody>
        </p:sp>
      </p:grpSp>
      <p:grpSp>
        <p:nvGrpSpPr>
          <p:cNvPr id="61" name="Группа 60"/>
          <p:cNvGrpSpPr/>
          <p:nvPr/>
        </p:nvGrpSpPr>
        <p:grpSpPr>
          <a:xfrm>
            <a:off x="4585070" y="3524310"/>
            <a:ext cx="1214934" cy="1838325"/>
            <a:chOff x="2537916" y="3514725"/>
            <a:chExt cx="1214934" cy="1838325"/>
          </a:xfrm>
        </p:grpSpPr>
        <p:grpSp>
          <p:nvGrpSpPr>
            <p:cNvPr id="62" name="Группа 61"/>
            <p:cNvGrpSpPr/>
            <p:nvPr/>
          </p:nvGrpSpPr>
          <p:grpSpPr>
            <a:xfrm>
              <a:off x="2537917" y="3514725"/>
              <a:ext cx="1214933" cy="1838325"/>
              <a:chOff x="2537917" y="3514725"/>
              <a:chExt cx="1214933" cy="1838325"/>
            </a:xfrm>
          </p:grpSpPr>
          <p:sp>
            <p:nvSpPr>
              <p:cNvPr id="65" name="Скругленный прямоугольник 64"/>
              <p:cNvSpPr/>
              <p:nvPr/>
            </p:nvSpPr>
            <p:spPr>
              <a:xfrm>
                <a:off x="2537917" y="3514725"/>
                <a:ext cx="1214933" cy="1838325"/>
              </a:xfrm>
              <a:prstGeom prst="roundRect">
                <a:avLst/>
              </a:prstGeom>
              <a:noFill/>
              <a:ln w="38100">
                <a:solidFill>
                  <a:srgbClr val="29479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cxnSp>
            <p:nvCxnSpPr>
              <p:cNvPr id="66" name="Прямая соединительная линия 65"/>
              <p:cNvCxnSpPr/>
              <p:nvPr/>
            </p:nvCxnSpPr>
            <p:spPr>
              <a:xfrm>
                <a:off x="2537917" y="4210050"/>
                <a:ext cx="1214933" cy="0"/>
              </a:xfrm>
              <a:prstGeom prst="line">
                <a:avLst/>
              </a:prstGeom>
              <a:ln w="57150">
                <a:solidFill>
                  <a:srgbClr val="29479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3" name="TextBox 62"/>
            <p:cNvSpPr txBox="1"/>
            <p:nvPr/>
          </p:nvSpPr>
          <p:spPr>
            <a:xfrm>
              <a:off x="2537917" y="4210050"/>
              <a:ext cx="1214933" cy="8925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i="1" dirty="0" smtClean="0"/>
                <a:t>чистое вещество:</a:t>
              </a:r>
            </a:p>
            <a:p>
              <a:pPr algn="ctr"/>
              <a:r>
                <a:rPr lang="ru-RU" sz="2000" b="1" i="1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0,15</a:t>
              </a:r>
              <a:r>
                <a:rPr lang="en-US" sz="2000" b="1" i="1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x</a:t>
              </a:r>
              <a:endParaRPr lang="ru-RU" sz="2000" b="1" i="1" dirty="0"/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2537916" y="3696682"/>
              <a:ext cx="121493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i="1" dirty="0" smtClean="0"/>
                <a:t>вода</a:t>
              </a:r>
              <a:endParaRPr lang="ru-RU" sz="1600" b="1" i="1" dirty="0"/>
            </a:p>
          </p:txBody>
        </p:sp>
      </p:grpSp>
      <p:grpSp>
        <p:nvGrpSpPr>
          <p:cNvPr id="67" name="Группа 66"/>
          <p:cNvGrpSpPr/>
          <p:nvPr/>
        </p:nvGrpSpPr>
        <p:grpSpPr>
          <a:xfrm>
            <a:off x="6623123" y="3533895"/>
            <a:ext cx="1214934" cy="1838325"/>
            <a:chOff x="2537916" y="3514725"/>
            <a:chExt cx="1214934" cy="1838325"/>
          </a:xfrm>
        </p:grpSpPr>
        <p:grpSp>
          <p:nvGrpSpPr>
            <p:cNvPr id="68" name="Группа 67"/>
            <p:cNvGrpSpPr/>
            <p:nvPr/>
          </p:nvGrpSpPr>
          <p:grpSpPr>
            <a:xfrm>
              <a:off x="2537917" y="3514725"/>
              <a:ext cx="1214933" cy="1838325"/>
              <a:chOff x="2537917" y="3514725"/>
              <a:chExt cx="1214933" cy="1838325"/>
            </a:xfrm>
          </p:grpSpPr>
          <p:sp>
            <p:nvSpPr>
              <p:cNvPr id="71" name="Скругленный прямоугольник 70"/>
              <p:cNvSpPr/>
              <p:nvPr/>
            </p:nvSpPr>
            <p:spPr>
              <a:xfrm>
                <a:off x="2537917" y="3514725"/>
                <a:ext cx="1214933" cy="1838325"/>
              </a:xfrm>
              <a:prstGeom prst="roundRect">
                <a:avLst/>
              </a:prstGeom>
              <a:noFill/>
              <a:ln w="38100">
                <a:solidFill>
                  <a:srgbClr val="29479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cxnSp>
            <p:nvCxnSpPr>
              <p:cNvPr id="72" name="Прямая соединительная линия 71"/>
              <p:cNvCxnSpPr/>
              <p:nvPr/>
            </p:nvCxnSpPr>
            <p:spPr>
              <a:xfrm>
                <a:off x="2537917" y="4210050"/>
                <a:ext cx="1214933" cy="0"/>
              </a:xfrm>
              <a:prstGeom prst="line">
                <a:avLst/>
              </a:prstGeom>
              <a:ln w="57150">
                <a:solidFill>
                  <a:srgbClr val="29479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9" name="TextBox 68"/>
            <p:cNvSpPr txBox="1"/>
            <p:nvPr/>
          </p:nvSpPr>
          <p:spPr>
            <a:xfrm>
              <a:off x="2537917" y="4210050"/>
              <a:ext cx="1214933" cy="11387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i="1" dirty="0" smtClean="0"/>
                <a:t>чистое вещество:</a:t>
              </a:r>
            </a:p>
            <a:p>
              <a:pPr algn="ctr"/>
              <a:r>
                <a:rPr lang="ru-RU" b="1" i="1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80 ‧ 0,12 = 9,6</a:t>
              </a:r>
              <a:endParaRPr lang="ru-RU" b="1" i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2537916" y="3696682"/>
              <a:ext cx="121493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i="1" dirty="0" smtClean="0"/>
                <a:t>вода</a:t>
              </a:r>
              <a:endParaRPr lang="ru-RU" sz="1600" b="1" i="1" dirty="0"/>
            </a:p>
          </p:txBody>
        </p:sp>
      </p:grpSp>
      <p:sp>
        <p:nvSpPr>
          <p:cNvPr id="73" name="Плюс 72"/>
          <p:cNvSpPr/>
          <p:nvPr/>
        </p:nvSpPr>
        <p:spPr>
          <a:xfrm>
            <a:off x="3846698" y="3913283"/>
            <a:ext cx="590550" cy="622490"/>
          </a:xfrm>
          <a:prstGeom prst="mathPlus">
            <a:avLst>
              <a:gd name="adj1" fmla="val 12903"/>
            </a:avLst>
          </a:prstGeom>
          <a:solidFill>
            <a:srgbClr val="345DAE"/>
          </a:solidFill>
          <a:ln>
            <a:solidFill>
              <a:srgbClr val="0D16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4" name="Равно 73"/>
          <p:cNvSpPr/>
          <p:nvPr/>
        </p:nvSpPr>
        <p:spPr>
          <a:xfrm>
            <a:off x="5815780" y="4022794"/>
            <a:ext cx="765175" cy="414425"/>
          </a:xfrm>
          <a:prstGeom prst="mathEqual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75" name="Прямоугольник 74"/>
          <p:cNvSpPr/>
          <p:nvPr/>
        </p:nvSpPr>
        <p:spPr>
          <a:xfrm>
            <a:off x="2691794" y="5353050"/>
            <a:ext cx="697627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000" b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10%</a:t>
            </a:r>
            <a:endParaRPr lang="ru-RU" sz="2000" b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6" name="Прямоугольник 75"/>
          <p:cNvSpPr/>
          <p:nvPr/>
        </p:nvSpPr>
        <p:spPr>
          <a:xfrm>
            <a:off x="4843723" y="5372220"/>
            <a:ext cx="697627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000" b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15%</a:t>
            </a:r>
            <a:endParaRPr lang="ru-RU" sz="2000" b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7" name="Прямоугольник 76"/>
          <p:cNvSpPr/>
          <p:nvPr/>
        </p:nvSpPr>
        <p:spPr>
          <a:xfrm>
            <a:off x="6872328" y="5381806"/>
            <a:ext cx="697627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000" b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12%</a:t>
            </a:r>
            <a:endParaRPr lang="ru-RU" sz="2000" b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8" name="Прямоугольник 77"/>
          <p:cNvSpPr/>
          <p:nvPr/>
        </p:nvSpPr>
        <p:spPr>
          <a:xfrm>
            <a:off x="2909580" y="3114675"/>
            <a:ext cx="471604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000" b="1" i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ru-RU" sz="2000" b="1" i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г</a:t>
            </a:r>
            <a:endParaRPr lang="ru-RU" sz="2000" b="1" i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9" name="Прямоугольник 78"/>
          <p:cNvSpPr/>
          <p:nvPr/>
        </p:nvSpPr>
        <p:spPr>
          <a:xfrm>
            <a:off x="4963948" y="3124199"/>
            <a:ext cx="457176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000" b="1" i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y</a:t>
            </a:r>
            <a:r>
              <a:rPr lang="ru-RU" sz="2000" b="1" i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г</a:t>
            </a:r>
            <a:endParaRPr lang="ru-RU" sz="2000" b="1" i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0" name="Прямоугольник 79"/>
          <p:cNvSpPr/>
          <p:nvPr/>
        </p:nvSpPr>
        <p:spPr>
          <a:xfrm>
            <a:off x="6909998" y="3133785"/>
            <a:ext cx="622286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000" b="1" i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80</a:t>
            </a:r>
            <a:r>
              <a:rPr lang="ru-RU" sz="2000" b="1" i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г</a:t>
            </a:r>
            <a:endParaRPr lang="ru-RU" sz="2000" b="1" i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9735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78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Прямоугольник 37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</a:t>
            </a:r>
            <a:r>
              <a:rPr lang="ru-RU" sz="700" dirty="0" smtClean="0">
                <a:solidFill>
                  <a:schemeClr val="bg1">
                    <a:lumMod val="65000"/>
                  </a:schemeClr>
                </a:solidFill>
              </a:rPr>
              <a:t>АО «Издательство «Просвещение» 2020</a:t>
            </a:r>
            <a:endParaRPr lang="ru-RU" sz="7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51172" y="399704"/>
            <a:ext cx="10509189" cy="3508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4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Алгебра. 7 класс. Макарычев Ю. Н., </a:t>
            </a:r>
            <a:r>
              <a:rPr lang="ru-RU" sz="2400" b="1" spc="-40" dirty="0" err="1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Миндюк</a:t>
            </a:r>
            <a:r>
              <a:rPr lang="ru-RU" sz="24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Н. Г., </a:t>
            </a:r>
            <a:r>
              <a:rPr lang="ru-RU" sz="2400" b="1" spc="-40" dirty="0" err="1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Нешков</a:t>
            </a:r>
            <a:r>
              <a:rPr lang="ru-RU" sz="24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К. И. и др. </a:t>
            </a:r>
          </a:p>
        </p:txBody>
      </p:sp>
      <p:pic>
        <p:nvPicPr>
          <p:cNvPr id="29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3" t="1550" r="2083" b="813"/>
          <a:stretch/>
        </p:blipFill>
        <p:spPr bwMode="auto">
          <a:xfrm>
            <a:off x="204716" y="1094218"/>
            <a:ext cx="1893708" cy="2593556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4" name="Прямая соединительная линия 13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132648" y="889662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4649" y="957379"/>
            <a:ext cx="6004819" cy="17953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4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23997" y="957379"/>
            <a:ext cx="1839278" cy="15095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" name="Прямая соединительная линия 16"/>
          <p:cNvCxnSpPr/>
          <p:nvPr/>
        </p:nvCxnSpPr>
        <p:spPr>
          <a:xfrm flipH="1">
            <a:off x="4492995" y="1320800"/>
            <a:ext cx="2180855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/>
        </p:nvCxnSpPr>
        <p:spPr>
          <a:xfrm flipH="1">
            <a:off x="7179046" y="1308100"/>
            <a:ext cx="1539504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 flipH="1">
            <a:off x="3953246" y="1593850"/>
            <a:ext cx="539749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>
            <a:stCxn id="15" idx="3"/>
          </p:cNvCxnSpPr>
          <p:nvPr/>
        </p:nvCxnSpPr>
        <p:spPr>
          <a:xfrm flipH="1" flipV="1">
            <a:off x="7045226" y="1855051"/>
            <a:ext cx="1874242" cy="1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 flipH="1">
            <a:off x="3953247" y="2132541"/>
            <a:ext cx="377453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/>
        </p:nvCxnSpPr>
        <p:spPr>
          <a:xfrm flipH="1">
            <a:off x="4537446" y="2132541"/>
            <a:ext cx="1984004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 flipH="1">
            <a:off x="3953248" y="2419350"/>
            <a:ext cx="631452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Прямоугольник 53"/>
          <p:cNvSpPr/>
          <p:nvPr/>
        </p:nvSpPr>
        <p:spPr>
          <a:xfrm>
            <a:off x="2537917" y="2840592"/>
            <a:ext cx="270083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Составление схемы</a:t>
            </a:r>
            <a:endParaRPr lang="ru-RU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5" name="Группа 54"/>
          <p:cNvGrpSpPr/>
          <p:nvPr/>
        </p:nvGrpSpPr>
        <p:grpSpPr>
          <a:xfrm>
            <a:off x="2537916" y="3514725"/>
            <a:ext cx="1214934" cy="1838325"/>
            <a:chOff x="2537916" y="3514725"/>
            <a:chExt cx="1214934" cy="1838325"/>
          </a:xfrm>
        </p:grpSpPr>
        <p:grpSp>
          <p:nvGrpSpPr>
            <p:cNvPr id="56" name="Группа 55"/>
            <p:cNvGrpSpPr/>
            <p:nvPr/>
          </p:nvGrpSpPr>
          <p:grpSpPr>
            <a:xfrm>
              <a:off x="2537917" y="3514725"/>
              <a:ext cx="1214933" cy="1838325"/>
              <a:chOff x="2537917" y="3514725"/>
              <a:chExt cx="1214933" cy="1838325"/>
            </a:xfrm>
          </p:grpSpPr>
          <p:sp>
            <p:nvSpPr>
              <p:cNvPr id="59" name="Скругленный прямоугольник 58"/>
              <p:cNvSpPr/>
              <p:nvPr/>
            </p:nvSpPr>
            <p:spPr>
              <a:xfrm>
                <a:off x="2537917" y="3514725"/>
                <a:ext cx="1214933" cy="1838325"/>
              </a:xfrm>
              <a:prstGeom prst="roundRect">
                <a:avLst/>
              </a:prstGeom>
              <a:noFill/>
              <a:ln w="38100">
                <a:solidFill>
                  <a:srgbClr val="29479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cxnSp>
            <p:nvCxnSpPr>
              <p:cNvPr id="60" name="Прямая соединительная линия 59"/>
              <p:cNvCxnSpPr/>
              <p:nvPr/>
            </p:nvCxnSpPr>
            <p:spPr>
              <a:xfrm>
                <a:off x="2537917" y="4210050"/>
                <a:ext cx="1214933" cy="0"/>
              </a:xfrm>
              <a:prstGeom prst="line">
                <a:avLst/>
              </a:prstGeom>
              <a:ln w="57150">
                <a:solidFill>
                  <a:srgbClr val="29479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7" name="TextBox 56"/>
            <p:cNvSpPr txBox="1"/>
            <p:nvPr/>
          </p:nvSpPr>
          <p:spPr>
            <a:xfrm>
              <a:off x="2537917" y="4210050"/>
              <a:ext cx="1214933" cy="8925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i="1" dirty="0" smtClean="0"/>
                <a:t>чистое вещество:</a:t>
              </a:r>
            </a:p>
            <a:p>
              <a:pPr algn="ctr"/>
              <a:r>
                <a:rPr lang="ru-RU" sz="2000" b="1" i="1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0,1</a:t>
              </a:r>
              <a:r>
                <a:rPr lang="en-US" sz="2000" b="1" i="1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x</a:t>
              </a:r>
              <a:endParaRPr lang="ru-RU" sz="2000" b="1" i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2537916" y="3696682"/>
              <a:ext cx="121493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i="1" dirty="0" smtClean="0"/>
                <a:t>вода</a:t>
              </a:r>
              <a:endParaRPr lang="ru-RU" sz="1600" b="1" i="1" dirty="0"/>
            </a:p>
          </p:txBody>
        </p:sp>
      </p:grpSp>
      <p:grpSp>
        <p:nvGrpSpPr>
          <p:cNvPr id="61" name="Группа 60"/>
          <p:cNvGrpSpPr/>
          <p:nvPr/>
        </p:nvGrpSpPr>
        <p:grpSpPr>
          <a:xfrm>
            <a:off x="4585070" y="3524310"/>
            <a:ext cx="1214934" cy="1838325"/>
            <a:chOff x="2537916" y="3514725"/>
            <a:chExt cx="1214934" cy="1838325"/>
          </a:xfrm>
        </p:grpSpPr>
        <p:grpSp>
          <p:nvGrpSpPr>
            <p:cNvPr id="62" name="Группа 61"/>
            <p:cNvGrpSpPr/>
            <p:nvPr/>
          </p:nvGrpSpPr>
          <p:grpSpPr>
            <a:xfrm>
              <a:off x="2537917" y="3514725"/>
              <a:ext cx="1214933" cy="1838325"/>
              <a:chOff x="2537917" y="3514725"/>
              <a:chExt cx="1214933" cy="1838325"/>
            </a:xfrm>
          </p:grpSpPr>
          <p:sp>
            <p:nvSpPr>
              <p:cNvPr id="65" name="Скругленный прямоугольник 64"/>
              <p:cNvSpPr/>
              <p:nvPr/>
            </p:nvSpPr>
            <p:spPr>
              <a:xfrm>
                <a:off x="2537917" y="3514725"/>
                <a:ext cx="1214933" cy="1838325"/>
              </a:xfrm>
              <a:prstGeom prst="roundRect">
                <a:avLst/>
              </a:prstGeom>
              <a:noFill/>
              <a:ln w="38100">
                <a:solidFill>
                  <a:srgbClr val="29479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cxnSp>
            <p:nvCxnSpPr>
              <p:cNvPr id="66" name="Прямая соединительная линия 65"/>
              <p:cNvCxnSpPr/>
              <p:nvPr/>
            </p:nvCxnSpPr>
            <p:spPr>
              <a:xfrm>
                <a:off x="2537917" y="4210050"/>
                <a:ext cx="1214933" cy="0"/>
              </a:xfrm>
              <a:prstGeom prst="line">
                <a:avLst/>
              </a:prstGeom>
              <a:ln w="57150">
                <a:solidFill>
                  <a:srgbClr val="29479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3" name="TextBox 62"/>
            <p:cNvSpPr txBox="1"/>
            <p:nvPr/>
          </p:nvSpPr>
          <p:spPr>
            <a:xfrm>
              <a:off x="2537917" y="4210050"/>
              <a:ext cx="1214933" cy="8925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i="1" dirty="0" smtClean="0"/>
                <a:t>чистое вещество:</a:t>
              </a:r>
            </a:p>
            <a:p>
              <a:pPr algn="ctr"/>
              <a:r>
                <a:rPr lang="ru-RU" sz="2000" b="1" i="1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0,15</a:t>
              </a:r>
              <a:r>
                <a:rPr lang="en-US" sz="2000" b="1" i="1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x</a:t>
              </a:r>
              <a:endParaRPr lang="ru-RU" sz="2000" b="1" i="1" dirty="0"/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2537916" y="3696682"/>
              <a:ext cx="121493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i="1" dirty="0" smtClean="0"/>
                <a:t>вода</a:t>
              </a:r>
              <a:endParaRPr lang="ru-RU" sz="1600" b="1" i="1" dirty="0"/>
            </a:p>
          </p:txBody>
        </p:sp>
      </p:grpSp>
      <p:grpSp>
        <p:nvGrpSpPr>
          <p:cNvPr id="67" name="Группа 66"/>
          <p:cNvGrpSpPr/>
          <p:nvPr/>
        </p:nvGrpSpPr>
        <p:grpSpPr>
          <a:xfrm>
            <a:off x="6623123" y="3533895"/>
            <a:ext cx="1214934" cy="1838325"/>
            <a:chOff x="2537916" y="3514725"/>
            <a:chExt cx="1214934" cy="1838325"/>
          </a:xfrm>
        </p:grpSpPr>
        <p:grpSp>
          <p:nvGrpSpPr>
            <p:cNvPr id="68" name="Группа 67"/>
            <p:cNvGrpSpPr/>
            <p:nvPr/>
          </p:nvGrpSpPr>
          <p:grpSpPr>
            <a:xfrm>
              <a:off x="2537917" y="3514725"/>
              <a:ext cx="1214933" cy="1838325"/>
              <a:chOff x="2537917" y="3514725"/>
              <a:chExt cx="1214933" cy="1838325"/>
            </a:xfrm>
          </p:grpSpPr>
          <p:sp>
            <p:nvSpPr>
              <p:cNvPr id="71" name="Скругленный прямоугольник 70"/>
              <p:cNvSpPr/>
              <p:nvPr/>
            </p:nvSpPr>
            <p:spPr>
              <a:xfrm>
                <a:off x="2537917" y="3514725"/>
                <a:ext cx="1214933" cy="1838325"/>
              </a:xfrm>
              <a:prstGeom prst="roundRect">
                <a:avLst/>
              </a:prstGeom>
              <a:noFill/>
              <a:ln w="38100">
                <a:solidFill>
                  <a:srgbClr val="29479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cxnSp>
            <p:nvCxnSpPr>
              <p:cNvPr id="72" name="Прямая соединительная линия 71"/>
              <p:cNvCxnSpPr/>
              <p:nvPr/>
            </p:nvCxnSpPr>
            <p:spPr>
              <a:xfrm>
                <a:off x="2537917" y="4210050"/>
                <a:ext cx="1214933" cy="0"/>
              </a:xfrm>
              <a:prstGeom prst="line">
                <a:avLst/>
              </a:prstGeom>
              <a:ln w="57150">
                <a:solidFill>
                  <a:srgbClr val="29479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9" name="TextBox 68"/>
            <p:cNvSpPr txBox="1"/>
            <p:nvPr/>
          </p:nvSpPr>
          <p:spPr>
            <a:xfrm>
              <a:off x="2537917" y="4210050"/>
              <a:ext cx="1214933" cy="11387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i="1" dirty="0" smtClean="0"/>
                <a:t>чистое вещество:</a:t>
              </a:r>
            </a:p>
            <a:p>
              <a:pPr algn="ctr"/>
              <a:r>
                <a:rPr lang="ru-RU" b="1" i="1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80 ‧ 0,12 = 9,6</a:t>
              </a:r>
              <a:endParaRPr lang="ru-RU" b="1" i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2537916" y="3696682"/>
              <a:ext cx="121493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i="1" dirty="0" smtClean="0"/>
                <a:t>вода</a:t>
              </a:r>
              <a:endParaRPr lang="ru-RU" sz="1600" b="1" i="1" dirty="0"/>
            </a:p>
          </p:txBody>
        </p:sp>
      </p:grpSp>
      <p:sp>
        <p:nvSpPr>
          <p:cNvPr id="73" name="Плюс 72"/>
          <p:cNvSpPr/>
          <p:nvPr/>
        </p:nvSpPr>
        <p:spPr>
          <a:xfrm>
            <a:off x="3846698" y="3913283"/>
            <a:ext cx="590550" cy="622490"/>
          </a:xfrm>
          <a:prstGeom prst="mathPlus">
            <a:avLst>
              <a:gd name="adj1" fmla="val 12903"/>
            </a:avLst>
          </a:prstGeom>
          <a:solidFill>
            <a:srgbClr val="345DAE"/>
          </a:solidFill>
          <a:ln>
            <a:solidFill>
              <a:srgbClr val="0D16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4" name="Равно 73"/>
          <p:cNvSpPr/>
          <p:nvPr/>
        </p:nvSpPr>
        <p:spPr>
          <a:xfrm>
            <a:off x="5815780" y="4022794"/>
            <a:ext cx="765175" cy="414425"/>
          </a:xfrm>
          <a:prstGeom prst="mathEqual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75" name="Прямоугольник 74"/>
          <p:cNvSpPr/>
          <p:nvPr/>
        </p:nvSpPr>
        <p:spPr>
          <a:xfrm>
            <a:off x="2691794" y="5353050"/>
            <a:ext cx="697627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000" b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10%</a:t>
            </a:r>
            <a:endParaRPr lang="ru-RU" sz="2000" b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6" name="Прямоугольник 75"/>
          <p:cNvSpPr/>
          <p:nvPr/>
        </p:nvSpPr>
        <p:spPr>
          <a:xfrm>
            <a:off x="4843723" y="5372220"/>
            <a:ext cx="697627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000" b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15%</a:t>
            </a:r>
            <a:endParaRPr lang="ru-RU" sz="2000" b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7" name="Прямоугольник 76"/>
          <p:cNvSpPr/>
          <p:nvPr/>
        </p:nvSpPr>
        <p:spPr>
          <a:xfrm>
            <a:off x="6872328" y="5381806"/>
            <a:ext cx="697627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000" b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12%</a:t>
            </a:r>
            <a:endParaRPr lang="ru-RU" sz="2000" b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8" name="Прямоугольник 77"/>
          <p:cNvSpPr/>
          <p:nvPr/>
        </p:nvSpPr>
        <p:spPr>
          <a:xfrm>
            <a:off x="2909580" y="3114675"/>
            <a:ext cx="471604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000" b="1" i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ru-RU" sz="2000" b="1" i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г</a:t>
            </a:r>
            <a:endParaRPr lang="ru-RU" sz="2000" b="1" i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9" name="Прямоугольник 78"/>
          <p:cNvSpPr/>
          <p:nvPr/>
        </p:nvSpPr>
        <p:spPr>
          <a:xfrm>
            <a:off x="4963948" y="3124199"/>
            <a:ext cx="457176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000" b="1" i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y</a:t>
            </a:r>
            <a:r>
              <a:rPr lang="ru-RU" sz="2000" b="1" i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г</a:t>
            </a:r>
            <a:endParaRPr lang="ru-RU" sz="2000" b="1" i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0" name="Прямоугольник 79"/>
          <p:cNvSpPr/>
          <p:nvPr/>
        </p:nvSpPr>
        <p:spPr>
          <a:xfrm>
            <a:off x="6909998" y="3133785"/>
            <a:ext cx="622286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000" b="1" i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80</a:t>
            </a:r>
            <a:r>
              <a:rPr lang="ru-RU" sz="2000" b="1" i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г</a:t>
            </a:r>
            <a:endParaRPr lang="ru-RU" sz="2000" b="1" i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9123996" y="2806086"/>
            <a:ext cx="270083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Составление системы уравнений</a:t>
            </a:r>
            <a:endParaRPr lang="ru-RU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5" name="TextBox 44"/>
              <p:cNvSpPr txBox="1"/>
              <p:nvPr/>
            </p:nvSpPr>
            <p:spPr>
              <a:xfrm>
                <a:off x="9324974" y="3687774"/>
                <a:ext cx="2258311" cy="61491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d>
                        <m:dPr>
                          <m:begChr m:val="{"/>
                          <m:endChr m:val=""/>
                          <m:ctrlPr>
                            <a:rPr lang="ru-RU" i="1" smtClean="0">
                              <a:latin typeface="Cambria Math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b="0" i="1" smtClean="0">
                                  <a:latin typeface="Cambria Math"/>
                                </a:rPr>
                              </m:ctrlPr>
                            </m:eqArr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𝑥</m:t>
                              </m:r>
                              <m:r>
                                <a:rPr lang="en-US" b="0" i="1" smtClean="0">
                                  <a:latin typeface="Cambria Math"/>
                                </a:rPr>
                                <m:t>+</m:t>
                              </m:r>
                              <m:r>
                                <a:rPr lang="en-US" b="0" i="1" smtClean="0">
                                  <a:latin typeface="Cambria Math"/>
                                </a:rPr>
                                <m:t>𝑦</m:t>
                              </m:r>
                              <m:r>
                                <a:rPr lang="en-US" b="0" i="1" smtClean="0">
                                  <a:latin typeface="Cambria Math"/>
                                </a:rPr>
                                <m:t>=80;             </m:t>
                              </m:r>
                            </m:e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0,1</m:t>
                              </m:r>
                              <m:r>
                                <a:rPr lang="en-US" b="0" i="1" smtClean="0">
                                  <a:latin typeface="Cambria Math"/>
                                </a:rPr>
                                <m:t>𝑥</m:t>
                              </m:r>
                              <m:r>
                                <a:rPr lang="en-US" b="0" i="1" smtClean="0">
                                  <a:latin typeface="Cambria Math"/>
                                </a:rPr>
                                <m:t>+0,15</m:t>
                              </m:r>
                              <m:r>
                                <a:rPr lang="en-US" b="0" i="1" smtClean="0">
                                  <a:latin typeface="Cambria Math"/>
                                </a:rPr>
                                <m:t>𝑦</m:t>
                              </m:r>
                              <m:r>
                                <a:rPr lang="en-US" b="0" i="1" smtClean="0">
                                  <a:latin typeface="Cambria Math"/>
                                </a:rPr>
                                <m:t>=9,6.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45" name="TextBox 4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324974" y="3687774"/>
                <a:ext cx="2258311" cy="614912"/>
              </a:xfrm>
              <a:prstGeom prst="rect">
                <a:avLst/>
              </a:prstGeom>
              <a:blipFill rotWithShape="1"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574017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02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Прямоугольник 37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</a:t>
            </a:r>
            <a:r>
              <a:rPr lang="ru-RU" sz="700" dirty="0" smtClean="0">
                <a:solidFill>
                  <a:schemeClr val="bg1">
                    <a:lumMod val="65000"/>
                  </a:schemeClr>
                </a:solidFill>
              </a:rPr>
              <a:t>АО «Издательство «Просвещение» 2020</a:t>
            </a:r>
            <a:endParaRPr lang="ru-RU" sz="7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51172" y="399704"/>
            <a:ext cx="10509189" cy="3508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4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Алгебра. 7 класс. Макарычев Ю. Н., </a:t>
            </a:r>
            <a:r>
              <a:rPr lang="ru-RU" sz="2400" b="1" spc="-40" dirty="0" err="1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Миндюк</a:t>
            </a:r>
            <a:r>
              <a:rPr lang="ru-RU" sz="24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Н. Г., </a:t>
            </a:r>
            <a:r>
              <a:rPr lang="ru-RU" sz="2400" b="1" spc="-40" dirty="0" err="1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Нешков</a:t>
            </a:r>
            <a:r>
              <a:rPr lang="ru-RU" sz="24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К. И. и др. </a:t>
            </a:r>
          </a:p>
        </p:txBody>
      </p:sp>
      <p:pic>
        <p:nvPicPr>
          <p:cNvPr id="29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3" t="1550" r="2083" b="813"/>
          <a:stretch/>
        </p:blipFill>
        <p:spPr bwMode="auto">
          <a:xfrm>
            <a:off x="204716" y="1094218"/>
            <a:ext cx="1893708" cy="2593556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4" name="Прямая соединительная линия 13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132648" y="889662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4649" y="957379"/>
            <a:ext cx="6004819" cy="17953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4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23997" y="957379"/>
            <a:ext cx="1839278" cy="15095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" name="Прямая соединительная линия 16"/>
          <p:cNvCxnSpPr/>
          <p:nvPr/>
        </p:nvCxnSpPr>
        <p:spPr>
          <a:xfrm flipH="1">
            <a:off x="4492995" y="1320800"/>
            <a:ext cx="2180855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/>
        </p:nvCxnSpPr>
        <p:spPr>
          <a:xfrm flipH="1">
            <a:off x="7179046" y="1308100"/>
            <a:ext cx="1539504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 flipH="1">
            <a:off x="3953246" y="1593850"/>
            <a:ext cx="539749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>
            <a:stCxn id="15" idx="3"/>
          </p:cNvCxnSpPr>
          <p:nvPr/>
        </p:nvCxnSpPr>
        <p:spPr>
          <a:xfrm flipH="1" flipV="1">
            <a:off x="7045226" y="1855051"/>
            <a:ext cx="1874242" cy="1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 flipH="1">
            <a:off x="3953247" y="2132541"/>
            <a:ext cx="377453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/>
        </p:nvCxnSpPr>
        <p:spPr>
          <a:xfrm flipH="1">
            <a:off x="4537446" y="2132541"/>
            <a:ext cx="1984004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 flipH="1">
            <a:off x="3953248" y="2419350"/>
            <a:ext cx="631452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Прямоугольник 53"/>
          <p:cNvSpPr/>
          <p:nvPr/>
        </p:nvSpPr>
        <p:spPr>
          <a:xfrm>
            <a:off x="2537917" y="2840592"/>
            <a:ext cx="270083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Составление схемы</a:t>
            </a:r>
            <a:endParaRPr lang="ru-RU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5" name="Группа 54"/>
          <p:cNvGrpSpPr/>
          <p:nvPr/>
        </p:nvGrpSpPr>
        <p:grpSpPr>
          <a:xfrm>
            <a:off x="2537916" y="3514725"/>
            <a:ext cx="1214934" cy="1838325"/>
            <a:chOff x="2537916" y="3514725"/>
            <a:chExt cx="1214934" cy="1838325"/>
          </a:xfrm>
        </p:grpSpPr>
        <p:grpSp>
          <p:nvGrpSpPr>
            <p:cNvPr id="56" name="Группа 55"/>
            <p:cNvGrpSpPr/>
            <p:nvPr/>
          </p:nvGrpSpPr>
          <p:grpSpPr>
            <a:xfrm>
              <a:off x="2537917" y="3514725"/>
              <a:ext cx="1214933" cy="1838325"/>
              <a:chOff x="2537917" y="3514725"/>
              <a:chExt cx="1214933" cy="1838325"/>
            </a:xfrm>
          </p:grpSpPr>
          <p:sp>
            <p:nvSpPr>
              <p:cNvPr id="59" name="Скругленный прямоугольник 58"/>
              <p:cNvSpPr/>
              <p:nvPr/>
            </p:nvSpPr>
            <p:spPr>
              <a:xfrm>
                <a:off x="2537917" y="3514725"/>
                <a:ext cx="1214933" cy="1838325"/>
              </a:xfrm>
              <a:prstGeom prst="roundRect">
                <a:avLst/>
              </a:prstGeom>
              <a:noFill/>
              <a:ln w="38100">
                <a:solidFill>
                  <a:srgbClr val="29479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cxnSp>
            <p:nvCxnSpPr>
              <p:cNvPr id="60" name="Прямая соединительная линия 59"/>
              <p:cNvCxnSpPr/>
              <p:nvPr/>
            </p:nvCxnSpPr>
            <p:spPr>
              <a:xfrm>
                <a:off x="2537917" y="4210050"/>
                <a:ext cx="1214933" cy="0"/>
              </a:xfrm>
              <a:prstGeom prst="line">
                <a:avLst/>
              </a:prstGeom>
              <a:ln w="57150">
                <a:solidFill>
                  <a:srgbClr val="29479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7" name="TextBox 56"/>
            <p:cNvSpPr txBox="1"/>
            <p:nvPr/>
          </p:nvSpPr>
          <p:spPr>
            <a:xfrm>
              <a:off x="2537917" y="4210050"/>
              <a:ext cx="1214933" cy="8925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i="1" dirty="0" smtClean="0"/>
                <a:t>чистое вещество:</a:t>
              </a:r>
            </a:p>
            <a:p>
              <a:pPr algn="ctr"/>
              <a:r>
                <a:rPr lang="ru-RU" sz="2000" b="1" i="1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0,1</a:t>
              </a:r>
              <a:r>
                <a:rPr lang="en-US" sz="2000" b="1" i="1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x</a:t>
              </a:r>
              <a:endParaRPr lang="ru-RU" sz="2000" b="1" i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2537916" y="3696682"/>
              <a:ext cx="121493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i="1" dirty="0" smtClean="0"/>
                <a:t>вода</a:t>
              </a:r>
              <a:endParaRPr lang="ru-RU" sz="1600" b="1" i="1" dirty="0"/>
            </a:p>
          </p:txBody>
        </p:sp>
      </p:grpSp>
      <p:grpSp>
        <p:nvGrpSpPr>
          <p:cNvPr id="61" name="Группа 60"/>
          <p:cNvGrpSpPr/>
          <p:nvPr/>
        </p:nvGrpSpPr>
        <p:grpSpPr>
          <a:xfrm>
            <a:off x="4585070" y="3524310"/>
            <a:ext cx="1214934" cy="1838325"/>
            <a:chOff x="2537916" y="3514725"/>
            <a:chExt cx="1214934" cy="1838325"/>
          </a:xfrm>
        </p:grpSpPr>
        <p:grpSp>
          <p:nvGrpSpPr>
            <p:cNvPr id="62" name="Группа 61"/>
            <p:cNvGrpSpPr/>
            <p:nvPr/>
          </p:nvGrpSpPr>
          <p:grpSpPr>
            <a:xfrm>
              <a:off x="2537917" y="3514725"/>
              <a:ext cx="1214933" cy="1838325"/>
              <a:chOff x="2537917" y="3514725"/>
              <a:chExt cx="1214933" cy="1838325"/>
            </a:xfrm>
          </p:grpSpPr>
          <p:sp>
            <p:nvSpPr>
              <p:cNvPr id="65" name="Скругленный прямоугольник 64"/>
              <p:cNvSpPr/>
              <p:nvPr/>
            </p:nvSpPr>
            <p:spPr>
              <a:xfrm>
                <a:off x="2537917" y="3514725"/>
                <a:ext cx="1214933" cy="1838325"/>
              </a:xfrm>
              <a:prstGeom prst="roundRect">
                <a:avLst/>
              </a:prstGeom>
              <a:noFill/>
              <a:ln w="38100">
                <a:solidFill>
                  <a:srgbClr val="29479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cxnSp>
            <p:nvCxnSpPr>
              <p:cNvPr id="66" name="Прямая соединительная линия 65"/>
              <p:cNvCxnSpPr/>
              <p:nvPr/>
            </p:nvCxnSpPr>
            <p:spPr>
              <a:xfrm>
                <a:off x="2537917" y="4210050"/>
                <a:ext cx="1214933" cy="0"/>
              </a:xfrm>
              <a:prstGeom prst="line">
                <a:avLst/>
              </a:prstGeom>
              <a:ln w="57150">
                <a:solidFill>
                  <a:srgbClr val="29479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3" name="TextBox 62"/>
            <p:cNvSpPr txBox="1"/>
            <p:nvPr/>
          </p:nvSpPr>
          <p:spPr>
            <a:xfrm>
              <a:off x="2537917" y="4210050"/>
              <a:ext cx="1214933" cy="8925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i="1" dirty="0" smtClean="0"/>
                <a:t>чистое вещество:</a:t>
              </a:r>
            </a:p>
            <a:p>
              <a:pPr algn="ctr"/>
              <a:r>
                <a:rPr lang="ru-RU" sz="2000" b="1" i="1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0,15</a:t>
              </a:r>
              <a:r>
                <a:rPr lang="en-US" sz="2000" b="1" i="1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x</a:t>
              </a:r>
              <a:endParaRPr lang="ru-RU" sz="2000" b="1" i="1" dirty="0"/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2537916" y="3696682"/>
              <a:ext cx="121493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i="1" dirty="0" smtClean="0"/>
                <a:t>вода</a:t>
              </a:r>
              <a:endParaRPr lang="ru-RU" sz="1600" b="1" i="1" dirty="0"/>
            </a:p>
          </p:txBody>
        </p:sp>
      </p:grpSp>
      <p:grpSp>
        <p:nvGrpSpPr>
          <p:cNvPr id="67" name="Группа 66"/>
          <p:cNvGrpSpPr/>
          <p:nvPr/>
        </p:nvGrpSpPr>
        <p:grpSpPr>
          <a:xfrm>
            <a:off x="6623123" y="3533895"/>
            <a:ext cx="1214934" cy="1838325"/>
            <a:chOff x="2537916" y="3514725"/>
            <a:chExt cx="1214934" cy="1838325"/>
          </a:xfrm>
        </p:grpSpPr>
        <p:grpSp>
          <p:nvGrpSpPr>
            <p:cNvPr id="68" name="Группа 67"/>
            <p:cNvGrpSpPr/>
            <p:nvPr/>
          </p:nvGrpSpPr>
          <p:grpSpPr>
            <a:xfrm>
              <a:off x="2537917" y="3514725"/>
              <a:ext cx="1214933" cy="1838325"/>
              <a:chOff x="2537917" y="3514725"/>
              <a:chExt cx="1214933" cy="1838325"/>
            </a:xfrm>
          </p:grpSpPr>
          <p:sp>
            <p:nvSpPr>
              <p:cNvPr id="71" name="Скругленный прямоугольник 70"/>
              <p:cNvSpPr/>
              <p:nvPr/>
            </p:nvSpPr>
            <p:spPr>
              <a:xfrm>
                <a:off x="2537917" y="3514725"/>
                <a:ext cx="1214933" cy="1838325"/>
              </a:xfrm>
              <a:prstGeom prst="roundRect">
                <a:avLst/>
              </a:prstGeom>
              <a:noFill/>
              <a:ln w="38100">
                <a:solidFill>
                  <a:srgbClr val="29479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cxnSp>
            <p:nvCxnSpPr>
              <p:cNvPr id="72" name="Прямая соединительная линия 71"/>
              <p:cNvCxnSpPr/>
              <p:nvPr/>
            </p:nvCxnSpPr>
            <p:spPr>
              <a:xfrm>
                <a:off x="2537917" y="4210050"/>
                <a:ext cx="1214933" cy="0"/>
              </a:xfrm>
              <a:prstGeom prst="line">
                <a:avLst/>
              </a:prstGeom>
              <a:ln w="57150">
                <a:solidFill>
                  <a:srgbClr val="29479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9" name="TextBox 68"/>
            <p:cNvSpPr txBox="1"/>
            <p:nvPr/>
          </p:nvSpPr>
          <p:spPr>
            <a:xfrm>
              <a:off x="2537917" y="4210050"/>
              <a:ext cx="1214933" cy="11387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i="1" dirty="0" smtClean="0"/>
                <a:t>чистое вещество:</a:t>
              </a:r>
            </a:p>
            <a:p>
              <a:pPr algn="ctr"/>
              <a:r>
                <a:rPr lang="ru-RU" b="1" i="1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80 ‧ 0,12 = 9,6</a:t>
              </a:r>
              <a:endParaRPr lang="ru-RU" b="1" i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2537916" y="3696682"/>
              <a:ext cx="121493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i="1" dirty="0" smtClean="0"/>
                <a:t>вода</a:t>
              </a:r>
              <a:endParaRPr lang="ru-RU" sz="1600" b="1" i="1" dirty="0"/>
            </a:p>
          </p:txBody>
        </p:sp>
      </p:grpSp>
      <p:sp>
        <p:nvSpPr>
          <p:cNvPr id="73" name="Плюс 72"/>
          <p:cNvSpPr/>
          <p:nvPr/>
        </p:nvSpPr>
        <p:spPr>
          <a:xfrm>
            <a:off x="3846698" y="3913283"/>
            <a:ext cx="590550" cy="622490"/>
          </a:xfrm>
          <a:prstGeom prst="mathPlus">
            <a:avLst>
              <a:gd name="adj1" fmla="val 12903"/>
            </a:avLst>
          </a:prstGeom>
          <a:solidFill>
            <a:srgbClr val="345DAE"/>
          </a:solidFill>
          <a:ln>
            <a:solidFill>
              <a:srgbClr val="0D16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4" name="Равно 73"/>
          <p:cNvSpPr/>
          <p:nvPr/>
        </p:nvSpPr>
        <p:spPr>
          <a:xfrm>
            <a:off x="5815780" y="4022794"/>
            <a:ext cx="765175" cy="414425"/>
          </a:xfrm>
          <a:prstGeom prst="mathEqual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75" name="Прямоугольник 74"/>
          <p:cNvSpPr/>
          <p:nvPr/>
        </p:nvSpPr>
        <p:spPr>
          <a:xfrm>
            <a:off x="2691794" y="5353050"/>
            <a:ext cx="697627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000" b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10%</a:t>
            </a:r>
            <a:endParaRPr lang="ru-RU" sz="2000" b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6" name="Прямоугольник 75"/>
          <p:cNvSpPr/>
          <p:nvPr/>
        </p:nvSpPr>
        <p:spPr>
          <a:xfrm>
            <a:off x="4843723" y="5372220"/>
            <a:ext cx="697627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000" b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15%</a:t>
            </a:r>
            <a:endParaRPr lang="ru-RU" sz="2000" b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7" name="Прямоугольник 76"/>
          <p:cNvSpPr/>
          <p:nvPr/>
        </p:nvSpPr>
        <p:spPr>
          <a:xfrm>
            <a:off x="6872328" y="5381806"/>
            <a:ext cx="697627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000" b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12%</a:t>
            </a:r>
            <a:endParaRPr lang="ru-RU" sz="2000" b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8" name="Прямоугольник 77"/>
          <p:cNvSpPr/>
          <p:nvPr/>
        </p:nvSpPr>
        <p:spPr>
          <a:xfrm>
            <a:off x="2909580" y="3114675"/>
            <a:ext cx="471604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000" b="1" i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ru-RU" sz="2000" b="1" i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г</a:t>
            </a:r>
            <a:endParaRPr lang="ru-RU" sz="2000" b="1" i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9" name="Прямоугольник 78"/>
          <p:cNvSpPr/>
          <p:nvPr/>
        </p:nvSpPr>
        <p:spPr>
          <a:xfrm>
            <a:off x="4963948" y="3124199"/>
            <a:ext cx="457176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000" b="1" i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y</a:t>
            </a:r>
            <a:r>
              <a:rPr lang="ru-RU" sz="2000" b="1" i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г</a:t>
            </a:r>
            <a:endParaRPr lang="ru-RU" sz="2000" b="1" i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0" name="Прямоугольник 79"/>
          <p:cNvSpPr/>
          <p:nvPr/>
        </p:nvSpPr>
        <p:spPr>
          <a:xfrm>
            <a:off x="6909998" y="3133785"/>
            <a:ext cx="622286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000" b="1" i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80</a:t>
            </a:r>
            <a:r>
              <a:rPr lang="ru-RU" sz="2000" b="1" i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D162D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г</a:t>
            </a:r>
            <a:endParaRPr lang="ru-RU" sz="2000" b="1" i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D162D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9123996" y="2806086"/>
            <a:ext cx="270083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Составление системы уравнений</a:t>
            </a:r>
            <a:endParaRPr lang="ru-RU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5" name="TextBox 44"/>
              <p:cNvSpPr txBox="1"/>
              <p:nvPr/>
            </p:nvSpPr>
            <p:spPr>
              <a:xfrm>
                <a:off x="9324974" y="3687774"/>
                <a:ext cx="2258311" cy="61491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d>
                        <m:dPr>
                          <m:begChr m:val="{"/>
                          <m:endChr m:val=""/>
                          <m:ctrlPr>
                            <a:rPr lang="ru-RU" i="1" smtClean="0">
                              <a:latin typeface="Cambria Math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b="0" i="1" smtClean="0">
                                  <a:latin typeface="Cambria Math"/>
                                </a:rPr>
                              </m:ctrlPr>
                            </m:eqArr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𝑥</m:t>
                              </m:r>
                              <m:r>
                                <a:rPr lang="en-US" b="0" i="1" smtClean="0">
                                  <a:latin typeface="Cambria Math"/>
                                </a:rPr>
                                <m:t>+</m:t>
                              </m:r>
                              <m:r>
                                <a:rPr lang="en-US" b="0" i="1" smtClean="0">
                                  <a:latin typeface="Cambria Math"/>
                                </a:rPr>
                                <m:t>𝑦</m:t>
                              </m:r>
                              <m:r>
                                <a:rPr lang="en-US" b="0" i="1" smtClean="0">
                                  <a:latin typeface="Cambria Math"/>
                                </a:rPr>
                                <m:t>=80;             </m:t>
                              </m:r>
                            </m:e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0,1</m:t>
                              </m:r>
                              <m:r>
                                <a:rPr lang="en-US" b="0" i="1" smtClean="0">
                                  <a:latin typeface="Cambria Math"/>
                                </a:rPr>
                                <m:t>𝑥</m:t>
                              </m:r>
                              <m:r>
                                <a:rPr lang="en-US" b="0" i="1" smtClean="0">
                                  <a:latin typeface="Cambria Math"/>
                                </a:rPr>
                                <m:t>+0,15</m:t>
                              </m:r>
                              <m:r>
                                <a:rPr lang="en-US" b="0" i="1" smtClean="0">
                                  <a:latin typeface="Cambria Math"/>
                                </a:rPr>
                                <m:t>𝑦</m:t>
                              </m:r>
                              <m:r>
                                <a:rPr lang="en-US" b="0" i="1" smtClean="0">
                                  <a:latin typeface="Cambria Math"/>
                                </a:rPr>
                                <m:t>=9,6.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45" name="TextBox 4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324974" y="3687774"/>
                <a:ext cx="2258311" cy="614912"/>
              </a:xfrm>
              <a:prstGeom prst="rect">
                <a:avLst/>
              </a:prstGeom>
              <a:blipFill rotWithShape="1"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6" name="TextBox 45"/>
              <p:cNvSpPr txBox="1"/>
              <p:nvPr/>
            </p:nvSpPr>
            <p:spPr>
              <a:xfrm>
                <a:off x="9359622" y="4497818"/>
                <a:ext cx="1114792" cy="60157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d>
                        <m:dPr>
                          <m:begChr m:val="{"/>
                          <m:endChr m:val=""/>
                          <m:ctrlPr>
                            <a:rPr lang="ru-RU" i="1" smtClean="0">
                              <a:latin typeface="Cambria Math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b="0" i="1" smtClean="0">
                                  <a:latin typeface="Cambria Math"/>
                                </a:rPr>
                              </m:ctrlPr>
                            </m:eqArrPr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𝑥</m:t>
                              </m:r>
                              <m:r>
                                <a:rPr lang="en-US" b="0" i="1" smtClean="0">
                                  <a:latin typeface="Cambria Math"/>
                                </a:rPr>
                                <m:t>=48;</m:t>
                              </m:r>
                            </m:e>
                            <m:e>
                              <m:r>
                                <a:rPr lang="en-US" b="0" i="1" smtClean="0">
                                  <a:latin typeface="Cambria Math"/>
                                </a:rPr>
                                <m:t>𝑦</m:t>
                              </m:r>
                              <m:r>
                                <a:rPr lang="en-US" b="0" i="1" smtClean="0">
                                  <a:latin typeface="Cambria Math"/>
                                </a:rPr>
                                <m:t>=32.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46" name="TextBox 4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359622" y="4497818"/>
                <a:ext cx="1114792" cy="601575"/>
              </a:xfrm>
              <a:prstGeom prst="rect">
                <a:avLst/>
              </a:prstGeom>
              <a:blipFill rotWithShape="1"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7" name="Прямоугольник 46"/>
          <p:cNvSpPr/>
          <p:nvPr/>
        </p:nvSpPr>
        <p:spPr>
          <a:xfrm>
            <a:off x="8693219" y="5772209"/>
            <a:ext cx="270083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Ответ: 48 г и 32 г.</a:t>
            </a:r>
            <a:endParaRPr lang="ru-RU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2040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25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Прямоугольник 37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</a:t>
            </a:r>
            <a:r>
              <a:rPr lang="ru-RU" sz="700" dirty="0" smtClean="0">
                <a:solidFill>
                  <a:schemeClr val="bg1">
                    <a:lumMod val="65000"/>
                  </a:schemeClr>
                </a:solidFill>
              </a:rPr>
              <a:t>АО «Издательство «Просвещение» 2020</a:t>
            </a:r>
            <a:endParaRPr lang="ru-RU" sz="7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51172" y="399704"/>
            <a:ext cx="10509189" cy="3508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4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Алгебра.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9</a:t>
            </a:r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ru-RU" sz="24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класс. Ю.М. Колягин, М.В. Ткачёва, </a:t>
            </a:r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и </a:t>
            </a:r>
            <a:r>
              <a:rPr lang="ru-RU" sz="24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др. </a:t>
            </a:r>
          </a:p>
        </p:txBody>
      </p:sp>
      <p:pic>
        <p:nvPicPr>
          <p:cNvPr id="29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Прямая соединительная линия 13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132648" y="889662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Picture 23" descr="C:\Users\EZubkova\Downloads\(cover) Алгебра. 9 класс. (Колягин Ю. М., Ткачева М. В., Фёдорова Н.Е. и др.)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648" y="1124903"/>
            <a:ext cx="1791686" cy="24765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0952" y="978411"/>
            <a:ext cx="6987689" cy="1871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" name="Picture 3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07694" y="925356"/>
            <a:ext cx="1213374" cy="26189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81955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49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Прямоугольник 37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</a:t>
            </a:r>
            <a:r>
              <a:rPr lang="ru-RU" sz="700" dirty="0" smtClean="0">
                <a:solidFill>
                  <a:schemeClr val="bg1">
                    <a:lumMod val="65000"/>
                  </a:schemeClr>
                </a:solidFill>
              </a:rPr>
              <a:t>АО «Издательство «Просвещение» 2020</a:t>
            </a:r>
            <a:endParaRPr lang="ru-RU" sz="7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51172" y="399704"/>
            <a:ext cx="10509189" cy="3508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4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Алгебра.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9</a:t>
            </a:r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ru-RU" sz="24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класс. Ю.М. Колягин, М.В. Ткачёва, </a:t>
            </a:r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и </a:t>
            </a:r>
            <a:r>
              <a:rPr lang="ru-RU" sz="24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др. </a:t>
            </a:r>
          </a:p>
        </p:txBody>
      </p:sp>
      <p:pic>
        <p:nvPicPr>
          <p:cNvPr id="29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Прямая соединительная линия 13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132648" y="889662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Picture 23" descr="C:\Users\EZubkova\Downloads\(cover) Алгебра. 9 класс. (Колягин Ю. М., Ткачева М. В., Фёдорова Н.Е. и др.)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648" y="1124903"/>
            <a:ext cx="1791686" cy="24765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0952" y="978411"/>
            <a:ext cx="6987689" cy="1871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" name="Picture 3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07694" y="925356"/>
            <a:ext cx="1213374" cy="26189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2172842" y="3229201"/>
            <a:ext cx="858159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Решение.</a:t>
            </a:r>
            <a:endParaRPr lang="en-US" b="1" i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 первый час кукушка кукует 2 раза, во второй – 3 раза, в третий – 4 раза и т.д. в 12 час – 13 раз. </a:t>
            </a:r>
          </a:p>
        </p:txBody>
      </p:sp>
    </p:spTree>
    <p:extLst>
      <p:ext uri="{BB962C8B-B14F-4D97-AF65-F5344CB8AC3E}">
        <p14:creationId xmlns:p14="http://schemas.microsoft.com/office/powerpoint/2010/main" val="1452087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73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Прямоугольник 37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</a:t>
            </a:r>
            <a:r>
              <a:rPr lang="ru-RU" sz="700" dirty="0" smtClean="0">
                <a:solidFill>
                  <a:schemeClr val="bg1">
                    <a:lumMod val="65000"/>
                  </a:schemeClr>
                </a:solidFill>
              </a:rPr>
              <a:t>АО «Издательство «Просвещение» 2020</a:t>
            </a:r>
            <a:endParaRPr lang="ru-RU" sz="7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51172" y="399704"/>
            <a:ext cx="10509189" cy="3508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4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Алгебра.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9</a:t>
            </a:r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ru-RU" sz="24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класс. Ю.М. Колягин, М.В. Ткачёва, </a:t>
            </a:r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и </a:t>
            </a:r>
            <a:r>
              <a:rPr lang="ru-RU" sz="24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др. </a:t>
            </a:r>
          </a:p>
        </p:txBody>
      </p:sp>
      <p:pic>
        <p:nvPicPr>
          <p:cNvPr id="29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Прямая соединительная линия 13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132648" y="889662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Picture 23" descr="C:\Users\EZubkova\Downloads\(cover) Алгебра. 9 класс. (Колягин Ю. М., Ткачева М. В., Фёдорова Н.Е. и др.)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648" y="1124903"/>
            <a:ext cx="1791686" cy="24765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0952" y="978411"/>
            <a:ext cx="6987689" cy="1871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" name="Picture 3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07694" y="925356"/>
            <a:ext cx="1213374" cy="26189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2172842" y="3229201"/>
            <a:ext cx="8581594" cy="15081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Решение.</a:t>
            </a:r>
            <a:endParaRPr lang="en-US" b="1" i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 первый час кукушка кукует 2 раза, во второй – 3 раза, в третий – 4 раза и т.д. в 12 час – 13 раз. </a:t>
            </a:r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a</a:t>
            </a:r>
            <a:r>
              <a:rPr lang="en-US" i="1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 </a:t>
            </a:r>
            <a:r>
              <a:rPr lang="en-US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= </a:t>
            </a:r>
            <a:r>
              <a:rPr lang="ru-RU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n-US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a</a:t>
            </a:r>
            <a:r>
              <a:rPr lang="en-US" i="1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ru-RU" i="1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n-US" i="1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= </a:t>
            </a:r>
            <a:r>
              <a:rPr lang="ru-RU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3</a:t>
            </a:r>
            <a:r>
              <a:rPr lang="en-US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n=12</a:t>
            </a:r>
            <a:endParaRPr lang="ru-RU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3883705"/>
            <a:ext cx="1782134" cy="658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251585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97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Прямоугольник 37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</a:t>
            </a:r>
            <a:r>
              <a:rPr lang="ru-RU" sz="700" dirty="0" smtClean="0">
                <a:solidFill>
                  <a:schemeClr val="bg1">
                    <a:lumMod val="65000"/>
                  </a:schemeClr>
                </a:solidFill>
              </a:rPr>
              <a:t>АО «Издательство «Просвещение» 2020</a:t>
            </a:r>
            <a:endParaRPr lang="ru-RU" sz="7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51172" y="399704"/>
            <a:ext cx="10509189" cy="3508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4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Алгебра.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9</a:t>
            </a:r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ru-RU" sz="24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класс. Ю.М. Колягин, М.В. Ткачёва, </a:t>
            </a:r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и </a:t>
            </a:r>
            <a:r>
              <a:rPr lang="ru-RU" sz="24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др. </a:t>
            </a:r>
          </a:p>
        </p:txBody>
      </p:sp>
      <p:pic>
        <p:nvPicPr>
          <p:cNvPr id="29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Прямая соединительная линия 13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132648" y="889662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Picture 23" descr="C:\Users\EZubkova\Downloads\(cover) Алгебра. 9 класс. (Колягин Ю. М., Ткачева М. В., Фёдорова Н.Е. и др.)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648" y="1124903"/>
            <a:ext cx="1791686" cy="24765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0952" y="978411"/>
            <a:ext cx="6987689" cy="1871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" name="Picture 3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07694" y="925356"/>
            <a:ext cx="1213374" cy="26189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2172842" y="3229201"/>
            <a:ext cx="8581594" cy="15081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Решение.</a:t>
            </a:r>
            <a:endParaRPr lang="en-US" b="1" i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 первый час кукушка кукует 2 раза, во второй – 3 раза, в третий – 4 раза и т.д. в 12 час – 13 раз. </a:t>
            </a:r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a</a:t>
            </a:r>
            <a:r>
              <a:rPr lang="en-US" i="1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 </a:t>
            </a:r>
            <a:r>
              <a:rPr lang="en-US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= </a:t>
            </a:r>
            <a:r>
              <a:rPr lang="ru-RU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n-US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a</a:t>
            </a:r>
            <a:r>
              <a:rPr lang="en-US" i="1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ru-RU" i="1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n-US" i="1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= </a:t>
            </a:r>
            <a:r>
              <a:rPr lang="ru-RU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3</a:t>
            </a:r>
            <a:r>
              <a:rPr lang="en-US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n=12</a:t>
            </a:r>
            <a:endParaRPr lang="ru-RU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3883705"/>
            <a:ext cx="1782134" cy="658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2" name="Прямоугольник 11"/>
              <p:cNvSpPr/>
              <p:nvPr/>
            </p:nvSpPr>
            <p:spPr>
              <a:xfrm>
                <a:off x="2172842" y="4569738"/>
                <a:ext cx="4821635" cy="69506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b="0" i="1" smtClean="0">
                              <a:latin typeface="Cambria Math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latin typeface="Cambria Math"/>
                              <a:cs typeface="Times New Roman" panose="020206030504050203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en-US" sz="2000" b="0" i="1" smtClean="0">
                              <a:latin typeface="Cambria Math"/>
                              <a:cs typeface="Times New Roman" panose="02020603050405020304" pitchFamily="18" charset="0"/>
                            </a:rPr>
                            <m:t>12</m:t>
                          </m:r>
                        </m:sub>
                      </m:sSub>
                      <m:r>
                        <a:rPr lang="en-US" sz="2000" b="0" i="1" smtClean="0">
                          <a:latin typeface="Cambria Math"/>
                          <a:cs typeface="Times New Roman" panose="02020603050405020304" pitchFamily="18" charset="0"/>
                        </a:rPr>
                        <m:t>=</m:t>
                      </m:r>
                      <m:f>
                        <m:fPr>
                          <m:ctrlPr>
                            <a:rPr lang="en-US" sz="2000" b="0" i="1" smtClean="0">
                              <a:latin typeface="Cambria Math"/>
                              <a:cs typeface="Times New Roman" panose="020206030504050203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sz="2000" b="0" i="1" smtClean="0">
                                  <a:latin typeface="Cambria Math"/>
                                  <a:cs typeface="Times New Roman" panose="020206030504050203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b="0" i="1" smtClean="0">
                                  <a:latin typeface="Cambria Math"/>
                                  <a:cs typeface="Times New Roman" panose="02020603050405020304" pitchFamily="18" charset="0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sz="2000" b="0" i="1" smtClean="0">
                                  <a:latin typeface="Cambria Math"/>
                                  <a:cs typeface="Times New Roman" panose="020206030504050203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en-US" sz="2000" b="0" i="1" smtClean="0">
                              <a:latin typeface="Cambria Math"/>
                              <a:cs typeface="Times New Roman" panose="02020603050405020304" pitchFamily="18" charset="0"/>
                            </a:rPr>
                            <m:t>+</m:t>
                          </m:r>
                          <m:sSub>
                            <m:sSubPr>
                              <m:ctrlPr>
                                <a:rPr lang="en-US" sz="2000" b="0" i="1" smtClean="0">
                                  <a:latin typeface="Cambria Math"/>
                                  <a:cs typeface="Times New Roman" panose="020206030504050203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b="0" i="1" smtClean="0">
                                  <a:latin typeface="Cambria Math"/>
                                  <a:cs typeface="Times New Roman" panose="02020603050405020304" pitchFamily="18" charset="0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sz="2000" b="0" i="1" smtClean="0">
                                  <a:latin typeface="Cambria Math"/>
                                  <a:cs typeface="Times New Roman" panose="02020603050405020304" pitchFamily="18" charset="0"/>
                                </a:rPr>
                                <m:t>12</m:t>
                              </m:r>
                            </m:sub>
                          </m:sSub>
                        </m:num>
                        <m:den>
                          <m:r>
                            <a:rPr lang="en-US" sz="2000" b="0" i="1" smtClean="0">
                              <a:latin typeface="Cambria Math"/>
                              <a:cs typeface="Times New Roman" panose="02020603050405020304" pitchFamily="18" charset="0"/>
                            </a:rPr>
                            <m:t>2</m:t>
                          </m:r>
                        </m:den>
                      </m:f>
                      <m:r>
                        <a:rPr lang="en-US" sz="2000" b="0" i="1" smtClean="0">
                          <a:latin typeface="Cambria Math"/>
                          <a:ea typeface="Cambria Math"/>
                          <a:cs typeface="Times New Roman" panose="02020603050405020304" pitchFamily="18" charset="0"/>
                        </a:rPr>
                        <m:t>∙</m:t>
                      </m:r>
                      <m:r>
                        <a:rPr lang="en-US" sz="2000" b="0" i="1" smtClean="0">
                          <a:latin typeface="Cambria Math"/>
                          <a:ea typeface="Cambria Math"/>
                          <a:cs typeface="Times New Roman" panose="02020603050405020304" pitchFamily="18" charset="0"/>
                        </a:rPr>
                        <m:t>𝑛</m:t>
                      </m:r>
                      <m:r>
                        <a:rPr lang="en-US" sz="2000" b="0" i="1" smtClean="0">
                          <a:latin typeface="Cambria Math"/>
                          <a:ea typeface="Cambria Math"/>
                          <a:cs typeface="Times New Roman" panose="02020603050405020304" pitchFamily="18" charset="0"/>
                        </a:rPr>
                        <m:t>=</m:t>
                      </m:r>
                      <m:f>
                        <m:fPr>
                          <m:ctrlPr>
                            <a:rPr lang="en-US" sz="2000" b="0" i="1" smtClean="0">
                              <a:latin typeface="Cambria Math"/>
                              <a:ea typeface="Cambria Math"/>
                              <a:cs typeface="Times New Roman" panose="02020603050405020304" pitchFamily="18" charset="0"/>
                            </a:rPr>
                          </m:ctrlPr>
                        </m:fPr>
                        <m:num>
                          <m:r>
                            <a:rPr lang="en-US" sz="2000" b="0" i="1" smtClean="0">
                              <a:latin typeface="Cambria Math"/>
                              <a:ea typeface="Cambria Math"/>
                              <a:cs typeface="Times New Roman" panose="02020603050405020304" pitchFamily="18" charset="0"/>
                            </a:rPr>
                            <m:t>2+13</m:t>
                          </m:r>
                        </m:num>
                        <m:den>
                          <m:r>
                            <a:rPr lang="en-US" sz="2000" b="0" i="1" smtClean="0">
                              <a:latin typeface="Cambria Math"/>
                              <a:ea typeface="Cambria Math"/>
                              <a:cs typeface="Times New Roman" panose="02020603050405020304" pitchFamily="18" charset="0"/>
                            </a:rPr>
                            <m:t>2</m:t>
                          </m:r>
                        </m:den>
                      </m:f>
                      <m:r>
                        <a:rPr lang="en-US" sz="2000" i="1">
                          <a:latin typeface="Cambria Math"/>
                          <a:ea typeface="Cambria Math"/>
                          <a:cs typeface="Times New Roman" panose="02020603050405020304" pitchFamily="18" charset="0"/>
                        </a:rPr>
                        <m:t>∙</m:t>
                      </m:r>
                      <m:r>
                        <a:rPr lang="en-US" sz="2000" b="0" i="1" smtClean="0">
                          <a:latin typeface="Cambria Math"/>
                          <a:ea typeface="Cambria Math"/>
                          <a:cs typeface="Times New Roman" panose="02020603050405020304" pitchFamily="18" charset="0"/>
                        </a:rPr>
                        <m:t>12=90</m:t>
                      </m:r>
                    </m:oMath>
                  </m:oMathPara>
                </a14:m>
                <a:endParaRPr lang="ru-RU" sz="2000" i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12" name="Прямоугольник 1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72842" y="4569738"/>
                <a:ext cx="4821635" cy="695062"/>
              </a:xfrm>
              <a:prstGeom prst="rect">
                <a:avLst/>
              </a:prstGeom>
              <a:blipFill rotWithShape="1"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216144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21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Прямоугольник 37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</a:t>
            </a:r>
            <a:r>
              <a:rPr lang="ru-RU" sz="700" dirty="0" smtClean="0">
                <a:solidFill>
                  <a:schemeClr val="bg1">
                    <a:lumMod val="65000"/>
                  </a:schemeClr>
                </a:solidFill>
              </a:rPr>
              <a:t>АО «Издательство «Просвещение» 2020</a:t>
            </a:r>
            <a:endParaRPr lang="ru-RU" sz="7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51172" y="399704"/>
            <a:ext cx="10509189" cy="3508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4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Алгебра.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9</a:t>
            </a:r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ru-RU" sz="24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класс. Ю.М. Колягин, М.В. Ткачёва, </a:t>
            </a:r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и </a:t>
            </a:r>
            <a:r>
              <a:rPr lang="ru-RU" sz="24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др. </a:t>
            </a:r>
          </a:p>
        </p:txBody>
      </p:sp>
      <p:pic>
        <p:nvPicPr>
          <p:cNvPr id="29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Прямая соединительная линия 13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132648" y="889662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Picture 23" descr="C:\Users\EZubkova\Downloads\(cover) Алгебра. 9 класс. (Колягин Ю. М., Ткачева М. В., Фёдорова Н.Е. и др.)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648" y="1124903"/>
            <a:ext cx="1791686" cy="24765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0952" y="978411"/>
            <a:ext cx="6987689" cy="1871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" name="Picture 3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07694" y="925356"/>
            <a:ext cx="1213374" cy="26189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2172842" y="3229201"/>
            <a:ext cx="8581594" cy="15081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Решение.</a:t>
            </a:r>
            <a:endParaRPr lang="en-US" b="1" i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 первый час кукушка кукует 2 раза, во второй – 3 раза, в третий – 4 раза и т.д. в 12 час – 13 раз. </a:t>
            </a:r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a</a:t>
            </a:r>
            <a:r>
              <a:rPr lang="en-US" i="1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 </a:t>
            </a:r>
            <a:r>
              <a:rPr lang="en-US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= </a:t>
            </a:r>
            <a:r>
              <a:rPr lang="ru-RU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n-US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a</a:t>
            </a:r>
            <a:r>
              <a:rPr lang="en-US" i="1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ru-RU" i="1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n-US" i="1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= </a:t>
            </a:r>
            <a:r>
              <a:rPr lang="ru-RU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3</a:t>
            </a:r>
            <a:r>
              <a:rPr lang="en-US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n=12</a:t>
            </a:r>
            <a:endParaRPr lang="ru-RU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3883705"/>
            <a:ext cx="1782134" cy="658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2" name="Прямоугольник 11"/>
              <p:cNvSpPr/>
              <p:nvPr/>
            </p:nvSpPr>
            <p:spPr>
              <a:xfrm>
                <a:off x="2172842" y="4569738"/>
                <a:ext cx="4821635" cy="69506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b="0" i="1" smtClean="0">
                              <a:latin typeface="Cambria Math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latin typeface="Cambria Math"/>
                              <a:cs typeface="Times New Roman" panose="020206030504050203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en-US" sz="2000" b="0" i="1" smtClean="0">
                              <a:latin typeface="Cambria Math"/>
                              <a:cs typeface="Times New Roman" panose="02020603050405020304" pitchFamily="18" charset="0"/>
                            </a:rPr>
                            <m:t>12</m:t>
                          </m:r>
                        </m:sub>
                      </m:sSub>
                      <m:r>
                        <a:rPr lang="en-US" sz="2000" b="0" i="1" smtClean="0">
                          <a:latin typeface="Cambria Math"/>
                          <a:cs typeface="Times New Roman" panose="02020603050405020304" pitchFamily="18" charset="0"/>
                        </a:rPr>
                        <m:t>=</m:t>
                      </m:r>
                      <m:f>
                        <m:fPr>
                          <m:ctrlPr>
                            <a:rPr lang="en-US" sz="2000" b="0" i="1" smtClean="0">
                              <a:latin typeface="Cambria Math"/>
                              <a:cs typeface="Times New Roman" panose="020206030504050203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sz="2000" b="0" i="1" smtClean="0">
                                  <a:latin typeface="Cambria Math"/>
                                  <a:cs typeface="Times New Roman" panose="020206030504050203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b="0" i="1" smtClean="0">
                                  <a:latin typeface="Cambria Math"/>
                                  <a:cs typeface="Times New Roman" panose="02020603050405020304" pitchFamily="18" charset="0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sz="2000" b="0" i="1" smtClean="0">
                                  <a:latin typeface="Cambria Math"/>
                                  <a:cs typeface="Times New Roman" panose="020206030504050203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en-US" sz="2000" b="0" i="1" smtClean="0">
                              <a:latin typeface="Cambria Math"/>
                              <a:cs typeface="Times New Roman" panose="02020603050405020304" pitchFamily="18" charset="0"/>
                            </a:rPr>
                            <m:t>+</m:t>
                          </m:r>
                          <m:sSub>
                            <m:sSubPr>
                              <m:ctrlPr>
                                <a:rPr lang="en-US" sz="2000" b="0" i="1" smtClean="0">
                                  <a:latin typeface="Cambria Math"/>
                                  <a:cs typeface="Times New Roman" panose="020206030504050203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b="0" i="1" smtClean="0">
                                  <a:latin typeface="Cambria Math"/>
                                  <a:cs typeface="Times New Roman" panose="02020603050405020304" pitchFamily="18" charset="0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sz="2000" b="0" i="1" smtClean="0">
                                  <a:latin typeface="Cambria Math"/>
                                  <a:cs typeface="Times New Roman" panose="02020603050405020304" pitchFamily="18" charset="0"/>
                                </a:rPr>
                                <m:t>12</m:t>
                              </m:r>
                            </m:sub>
                          </m:sSub>
                        </m:num>
                        <m:den>
                          <m:r>
                            <a:rPr lang="en-US" sz="2000" b="0" i="1" smtClean="0">
                              <a:latin typeface="Cambria Math"/>
                              <a:cs typeface="Times New Roman" panose="02020603050405020304" pitchFamily="18" charset="0"/>
                            </a:rPr>
                            <m:t>2</m:t>
                          </m:r>
                        </m:den>
                      </m:f>
                      <m:r>
                        <a:rPr lang="en-US" sz="2000" b="0" i="1" smtClean="0">
                          <a:latin typeface="Cambria Math"/>
                          <a:ea typeface="Cambria Math"/>
                          <a:cs typeface="Times New Roman" panose="02020603050405020304" pitchFamily="18" charset="0"/>
                        </a:rPr>
                        <m:t>∙</m:t>
                      </m:r>
                      <m:r>
                        <a:rPr lang="en-US" sz="2000" b="0" i="1" smtClean="0">
                          <a:latin typeface="Cambria Math"/>
                          <a:ea typeface="Cambria Math"/>
                          <a:cs typeface="Times New Roman" panose="02020603050405020304" pitchFamily="18" charset="0"/>
                        </a:rPr>
                        <m:t>𝑛</m:t>
                      </m:r>
                      <m:r>
                        <a:rPr lang="en-US" sz="2000" b="0" i="1" smtClean="0">
                          <a:latin typeface="Cambria Math"/>
                          <a:ea typeface="Cambria Math"/>
                          <a:cs typeface="Times New Roman" panose="02020603050405020304" pitchFamily="18" charset="0"/>
                        </a:rPr>
                        <m:t>=</m:t>
                      </m:r>
                      <m:f>
                        <m:fPr>
                          <m:ctrlPr>
                            <a:rPr lang="en-US" sz="2000" b="0" i="1" smtClean="0">
                              <a:latin typeface="Cambria Math"/>
                              <a:ea typeface="Cambria Math"/>
                              <a:cs typeface="Times New Roman" panose="02020603050405020304" pitchFamily="18" charset="0"/>
                            </a:rPr>
                          </m:ctrlPr>
                        </m:fPr>
                        <m:num>
                          <m:r>
                            <a:rPr lang="en-US" sz="2000" b="0" i="1" smtClean="0">
                              <a:latin typeface="Cambria Math"/>
                              <a:ea typeface="Cambria Math"/>
                              <a:cs typeface="Times New Roman" panose="02020603050405020304" pitchFamily="18" charset="0"/>
                            </a:rPr>
                            <m:t>2+13</m:t>
                          </m:r>
                        </m:num>
                        <m:den>
                          <m:r>
                            <a:rPr lang="en-US" sz="2000" b="0" i="1" smtClean="0">
                              <a:latin typeface="Cambria Math"/>
                              <a:ea typeface="Cambria Math"/>
                              <a:cs typeface="Times New Roman" panose="02020603050405020304" pitchFamily="18" charset="0"/>
                            </a:rPr>
                            <m:t>2</m:t>
                          </m:r>
                        </m:den>
                      </m:f>
                      <m:r>
                        <a:rPr lang="en-US" sz="2000" i="1">
                          <a:latin typeface="Cambria Math"/>
                          <a:ea typeface="Cambria Math"/>
                          <a:cs typeface="Times New Roman" panose="02020603050405020304" pitchFamily="18" charset="0"/>
                        </a:rPr>
                        <m:t>∙</m:t>
                      </m:r>
                      <m:r>
                        <a:rPr lang="en-US" sz="2000" b="0" i="1" smtClean="0">
                          <a:latin typeface="Cambria Math"/>
                          <a:ea typeface="Cambria Math"/>
                          <a:cs typeface="Times New Roman" panose="02020603050405020304" pitchFamily="18" charset="0"/>
                        </a:rPr>
                        <m:t>12=90</m:t>
                      </m:r>
                    </m:oMath>
                  </m:oMathPara>
                </a14:m>
                <a:endParaRPr lang="ru-RU" sz="2000" i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12" name="Прямоугольник 1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72842" y="4569738"/>
                <a:ext cx="4821635" cy="695062"/>
              </a:xfrm>
              <a:prstGeom prst="rect">
                <a:avLst/>
              </a:prstGeom>
              <a:blipFill rotWithShape="1"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Прямоугольник 12"/>
          <p:cNvSpPr/>
          <p:nvPr/>
        </p:nvSpPr>
        <p:spPr>
          <a:xfrm>
            <a:off x="2244786" y="5235909"/>
            <a:ext cx="706001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90 сигналов прозвучит за половину суток.</a:t>
            </a:r>
          </a:p>
        </p:txBody>
      </p:sp>
    </p:spTree>
    <p:extLst>
      <p:ext uri="{BB962C8B-B14F-4D97-AF65-F5344CB8AC3E}">
        <p14:creationId xmlns:p14="http://schemas.microsoft.com/office/powerpoint/2010/main" val="39830597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44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Прямоугольник 37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</a:t>
            </a:r>
            <a:r>
              <a:rPr lang="ru-RU" sz="700" dirty="0" smtClean="0">
                <a:solidFill>
                  <a:schemeClr val="bg1">
                    <a:lumMod val="65000"/>
                  </a:schemeClr>
                </a:solidFill>
              </a:rPr>
              <a:t>АО «Издательство «Просвещение» 2020</a:t>
            </a:r>
            <a:endParaRPr lang="ru-RU" sz="7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51172" y="399704"/>
            <a:ext cx="10509189" cy="3508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4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Алгебра.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9</a:t>
            </a:r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ru-RU" sz="24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класс. Ю.М. Колягин, М.В. Ткачёва, </a:t>
            </a:r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и </a:t>
            </a:r>
            <a:r>
              <a:rPr lang="ru-RU" sz="24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др. </a:t>
            </a:r>
          </a:p>
        </p:txBody>
      </p:sp>
      <p:pic>
        <p:nvPicPr>
          <p:cNvPr id="29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Прямая соединительная линия 13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132648" y="889662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Picture 23" descr="C:\Users\EZubkova\Downloads\(cover) Алгебра. 9 класс. (Колягин Ю. М., Ткачева М. В., Фёдорова Н.Е. и др.)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648" y="1124903"/>
            <a:ext cx="1791686" cy="24765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0952" y="978411"/>
            <a:ext cx="6987689" cy="1871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" name="Picture 3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07694" y="925356"/>
            <a:ext cx="1213374" cy="26189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2172842" y="3229201"/>
            <a:ext cx="8581594" cy="15081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Решение.</a:t>
            </a:r>
            <a:endParaRPr lang="en-US" b="1" i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 первый час кукушка кукует 2 раза, во второй – 3 раза, в третий – 4 раза и т.д. в 12 час – 13 раз. </a:t>
            </a:r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a</a:t>
            </a:r>
            <a:r>
              <a:rPr lang="en-US" i="1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 </a:t>
            </a:r>
            <a:r>
              <a:rPr lang="en-US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= </a:t>
            </a:r>
            <a:r>
              <a:rPr lang="ru-RU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n-US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a</a:t>
            </a:r>
            <a:r>
              <a:rPr lang="en-US" i="1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ru-RU" i="1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n-US" i="1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= </a:t>
            </a:r>
            <a:r>
              <a:rPr lang="ru-RU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3</a:t>
            </a:r>
            <a:r>
              <a:rPr lang="en-US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n=12</a:t>
            </a:r>
            <a:endParaRPr lang="ru-RU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3883705"/>
            <a:ext cx="1782134" cy="658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2" name="Прямоугольник 11"/>
              <p:cNvSpPr/>
              <p:nvPr/>
            </p:nvSpPr>
            <p:spPr>
              <a:xfrm>
                <a:off x="2172842" y="4569738"/>
                <a:ext cx="4821635" cy="69506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b="0" i="1" smtClean="0">
                              <a:latin typeface="Cambria Math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latin typeface="Cambria Math"/>
                              <a:cs typeface="Times New Roman" panose="020206030504050203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en-US" sz="2000" b="0" i="1" smtClean="0">
                              <a:latin typeface="Cambria Math"/>
                              <a:cs typeface="Times New Roman" panose="02020603050405020304" pitchFamily="18" charset="0"/>
                            </a:rPr>
                            <m:t>12</m:t>
                          </m:r>
                        </m:sub>
                      </m:sSub>
                      <m:r>
                        <a:rPr lang="en-US" sz="2000" b="0" i="1" smtClean="0">
                          <a:latin typeface="Cambria Math"/>
                          <a:cs typeface="Times New Roman" panose="02020603050405020304" pitchFamily="18" charset="0"/>
                        </a:rPr>
                        <m:t>=</m:t>
                      </m:r>
                      <m:f>
                        <m:fPr>
                          <m:ctrlPr>
                            <a:rPr lang="en-US" sz="2000" b="0" i="1" smtClean="0">
                              <a:latin typeface="Cambria Math"/>
                              <a:cs typeface="Times New Roman" panose="020206030504050203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sz="2000" b="0" i="1" smtClean="0">
                                  <a:latin typeface="Cambria Math"/>
                                  <a:cs typeface="Times New Roman" panose="020206030504050203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b="0" i="1" smtClean="0">
                                  <a:latin typeface="Cambria Math"/>
                                  <a:cs typeface="Times New Roman" panose="02020603050405020304" pitchFamily="18" charset="0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sz="2000" b="0" i="1" smtClean="0">
                                  <a:latin typeface="Cambria Math"/>
                                  <a:cs typeface="Times New Roman" panose="020206030504050203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en-US" sz="2000" b="0" i="1" smtClean="0">
                              <a:latin typeface="Cambria Math"/>
                              <a:cs typeface="Times New Roman" panose="02020603050405020304" pitchFamily="18" charset="0"/>
                            </a:rPr>
                            <m:t>+</m:t>
                          </m:r>
                          <m:sSub>
                            <m:sSubPr>
                              <m:ctrlPr>
                                <a:rPr lang="en-US" sz="2000" b="0" i="1" smtClean="0">
                                  <a:latin typeface="Cambria Math"/>
                                  <a:cs typeface="Times New Roman" panose="020206030504050203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b="0" i="1" smtClean="0">
                                  <a:latin typeface="Cambria Math"/>
                                  <a:cs typeface="Times New Roman" panose="02020603050405020304" pitchFamily="18" charset="0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sz="2000" b="0" i="1" smtClean="0">
                                  <a:latin typeface="Cambria Math"/>
                                  <a:cs typeface="Times New Roman" panose="02020603050405020304" pitchFamily="18" charset="0"/>
                                </a:rPr>
                                <m:t>12</m:t>
                              </m:r>
                            </m:sub>
                          </m:sSub>
                        </m:num>
                        <m:den>
                          <m:r>
                            <a:rPr lang="en-US" sz="2000" b="0" i="1" smtClean="0">
                              <a:latin typeface="Cambria Math"/>
                              <a:cs typeface="Times New Roman" panose="02020603050405020304" pitchFamily="18" charset="0"/>
                            </a:rPr>
                            <m:t>2</m:t>
                          </m:r>
                        </m:den>
                      </m:f>
                      <m:r>
                        <a:rPr lang="en-US" sz="2000" b="0" i="1" smtClean="0">
                          <a:latin typeface="Cambria Math"/>
                          <a:ea typeface="Cambria Math"/>
                          <a:cs typeface="Times New Roman" panose="02020603050405020304" pitchFamily="18" charset="0"/>
                        </a:rPr>
                        <m:t>∙</m:t>
                      </m:r>
                      <m:r>
                        <a:rPr lang="en-US" sz="2000" b="0" i="1" smtClean="0">
                          <a:latin typeface="Cambria Math"/>
                          <a:ea typeface="Cambria Math"/>
                          <a:cs typeface="Times New Roman" panose="02020603050405020304" pitchFamily="18" charset="0"/>
                        </a:rPr>
                        <m:t>𝑛</m:t>
                      </m:r>
                      <m:r>
                        <a:rPr lang="en-US" sz="2000" b="0" i="1" smtClean="0">
                          <a:latin typeface="Cambria Math"/>
                          <a:ea typeface="Cambria Math"/>
                          <a:cs typeface="Times New Roman" panose="02020603050405020304" pitchFamily="18" charset="0"/>
                        </a:rPr>
                        <m:t>=</m:t>
                      </m:r>
                      <m:f>
                        <m:fPr>
                          <m:ctrlPr>
                            <a:rPr lang="en-US" sz="2000" b="0" i="1" smtClean="0">
                              <a:latin typeface="Cambria Math"/>
                              <a:ea typeface="Cambria Math"/>
                              <a:cs typeface="Times New Roman" panose="02020603050405020304" pitchFamily="18" charset="0"/>
                            </a:rPr>
                          </m:ctrlPr>
                        </m:fPr>
                        <m:num>
                          <m:r>
                            <a:rPr lang="en-US" sz="2000" b="0" i="1" smtClean="0">
                              <a:latin typeface="Cambria Math"/>
                              <a:ea typeface="Cambria Math"/>
                              <a:cs typeface="Times New Roman" panose="02020603050405020304" pitchFamily="18" charset="0"/>
                            </a:rPr>
                            <m:t>2+13</m:t>
                          </m:r>
                        </m:num>
                        <m:den>
                          <m:r>
                            <a:rPr lang="en-US" sz="2000" b="0" i="1" smtClean="0">
                              <a:latin typeface="Cambria Math"/>
                              <a:ea typeface="Cambria Math"/>
                              <a:cs typeface="Times New Roman" panose="02020603050405020304" pitchFamily="18" charset="0"/>
                            </a:rPr>
                            <m:t>2</m:t>
                          </m:r>
                        </m:den>
                      </m:f>
                      <m:r>
                        <a:rPr lang="en-US" sz="2000" i="1">
                          <a:latin typeface="Cambria Math"/>
                          <a:ea typeface="Cambria Math"/>
                          <a:cs typeface="Times New Roman" panose="02020603050405020304" pitchFamily="18" charset="0"/>
                        </a:rPr>
                        <m:t>∙</m:t>
                      </m:r>
                      <m:r>
                        <a:rPr lang="en-US" sz="2000" b="0" i="1" smtClean="0">
                          <a:latin typeface="Cambria Math"/>
                          <a:ea typeface="Cambria Math"/>
                          <a:cs typeface="Times New Roman" panose="02020603050405020304" pitchFamily="18" charset="0"/>
                        </a:rPr>
                        <m:t>12=90</m:t>
                      </m:r>
                    </m:oMath>
                  </m:oMathPara>
                </a14:m>
                <a:endParaRPr lang="ru-RU" sz="2000" i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12" name="Прямоугольник 1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72842" y="4569738"/>
                <a:ext cx="4821635" cy="695062"/>
              </a:xfrm>
              <a:prstGeom prst="rect">
                <a:avLst/>
              </a:prstGeom>
              <a:blipFill rotWithShape="1"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Прямоугольник 12"/>
          <p:cNvSpPr/>
          <p:nvPr/>
        </p:nvSpPr>
        <p:spPr>
          <a:xfrm>
            <a:off x="2244786" y="5235909"/>
            <a:ext cx="706001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90 сигналов прозвучит за половину суток.</a:t>
            </a:r>
            <a:endParaRPr lang="en-US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начит за полные сутки кукушка прокукует 90 • 2 = 180 (раз).</a:t>
            </a:r>
          </a:p>
          <a:p>
            <a:pPr>
              <a:defRPr/>
            </a:pP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твет. 180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з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3227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34" name="TextBox 33"/>
          <p:cNvSpPr txBox="1"/>
          <p:nvPr/>
        </p:nvSpPr>
        <p:spPr>
          <a:xfrm>
            <a:off x="192106" y="224272"/>
            <a:ext cx="10509189" cy="409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8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Серия «Функциональная Грамотность</a:t>
            </a: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. Тренажёры»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35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75029" y="6697029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rgbClr val="002060"/>
                </a:solidFill>
              </a:rPr>
              <a:t>© АО «Издательство «Просвещение» </a:t>
            </a:r>
            <a:r>
              <a:rPr lang="ru-RU" sz="700" dirty="0" smtClean="0">
                <a:solidFill>
                  <a:srgbClr val="002060"/>
                </a:solidFill>
              </a:rPr>
              <a:t>2020</a:t>
            </a:r>
            <a:endParaRPr lang="ru-RU" sz="700" dirty="0">
              <a:solidFill>
                <a:srgbClr val="002060"/>
              </a:solidFill>
            </a:endParaRPr>
          </a:p>
        </p:txBody>
      </p:sp>
      <p:pic>
        <p:nvPicPr>
          <p:cNvPr id="1054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793" y="814225"/>
            <a:ext cx="1638300" cy="31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547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5649" y="1128549"/>
            <a:ext cx="6899230" cy="2474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75029" y="1350708"/>
            <a:ext cx="5230955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Вопрос 1</a:t>
            </a:r>
          </a:p>
          <a:p>
            <a:r>
              <a:rPr lang="ru-RU" sz="2000" dirty="0"/>
              <a:t>Ученик хочет изобразить эти данные на диаграмме. </a:t>
            </a:r>
            <a:r>
              <a:rPr lang="ru-RU" sz="2000" dirty="0" smtClean="0"/>
              <a:t>Приведите </a:t>
            </a:r>
            <a:r>
              <a:rPr lang="ru-RU" sz="2000" b="1" dirty="0" smtClean="0"/>
              <a:t>одну </a:t>
            </a:r>
            <a:r>
              <a:rPr lang="ru-RU" sz="2000" dirty="0"/>
              <a:t>причину, по которой диаграмма не подходит для </a:t>
            </a:r>
            <a:r>
              <a:rPr lang="ru-RU" sz="2000" dirty="0" smtClean="0"/>
              <a:t>отображения </a:t>
            </a:r>
            <a:r>
              <a:rPr lang="ru-RU" sz="2000" dirty="0"/>
              <a:t>этих данных.</a:t>
            </a:r>
          </a:p>
        </p:txBody>
      </p:sp>
      <p:sp>
        <p:nvSpPr>
          <p:cNvPr id="5" name="Овал 4"/>
          <p:cNvSpPr/>
          <p:nvPr/>
        </p:nvSpPr>
        <p:spPr>
          <a:xfrm>
            <a:off x="9826388" y="1787857"/>
            <a:ext cx="600501" cy="245659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Овал 10"/>
          <p:cNvSpPr/>
          <p:nvPr/>
        </p:nvSpPr>
        <p:spPr>
          <a:xfrm>
            <a:off x="9826387" y="2695321"/>
            <a:ext cx="600501" cy="245659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42171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34" name="TextBox 33"/>
          <p:cNvSpPr txBox="1"/>
          <p:nvPr/>
        </p:nvSpPr>
        <p:spPr>
          <a:xfrm>
            <a:off x="192106" y="224272"/>
            <a:ext cx="10509189" cy="409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8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Серия «Функциональная Грамотность</a:t>
            </a: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. Тренажёры»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35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75029" y="6697029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rgbClr val="002060"/>
                </a:solidFill>
              </a:rPr>
              <a:t>© АО «Издательство «Просвещение» </a:t>
            </a:r>
            <a:r>
              <a:rPr lang="ru-RU" sz="700" dirty="0" smtClean="0">
                <a:solidFill>
                  <a:srgbClr val="002060"/>
                </a:solidFill>
              </a:rPr>
              <a:t>2020</a:t>
            </a:r>
            <a:endParaRPr lang="ru-RU" sz="700" dirty="0">
              <a:solidFill>
                <a:srgbClr val="002060"/>
              </a:solidFill>
            </a:endParaRPr>
          </a:p>
        </p:txBody>
      </p:sp>
      <p:pic>
        <p:nvPicPr>
          <p:cNvPr id="1054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793" y="814225"/>
            <a:ext cx="1638300" cy="31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547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5649" y="1128549"/>
            <a:ext cx="6899230" cy="2474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0" y="1172866"/>
            <a:ext cx="523095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/>
              <a:t>Вопрос 1</a:t>
            </a:r>
          </a:p>
          <a:p>
            <a:r>
              <a:rPr lang="ru-RU" dirty="0"/>
              <a:t>Ученик хочет изобразить эти данные на диаграмме. </a:t>
            </a:r>
            <a:r>
              <a:rPr lang="ru-RU" dirty="0" smtClean="0"/>
              <a:t>Приведите </a:t>
            </a:r>
            <a:r>
              <a:rPr lang="ru-RU" b="1" dirty="0" smtClean="0"/>
              <a:t>одну </a:t>
            </a:r>
            <a:r>
              <a:rPr lang="ru-RU" dirty="0"/>
              <a:t>причину, по которой диаграмма не подходит для </a:t>
            </a:r>
            <a:r>
              <a:rPr lang="ru-RU" dirty="0" smtClean="0"/>
              <a:t>отображения </a:t>
            </a:r>
            <a:r>
              <a:rPr lang="ru-RU" dirty="0"/>
              <a:t>этих данных.</a:t>
            </a:r>
          </a:p>
        </p:txBody>
      </p:sp>
      <p:sp>
        <p:nvSpPr>
          <p:cNvPr id="5" name="Овал 4"/>
          <p:cNvSpPr/>
          <p:nvPr/>
        </p:nvSpPr>
        <p:spPr>
          <a:xfrm>
            <a:off x="9826388" y="1787857"/>
            <a:ext cx="600501" cy="245659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Овал 10"/>
          <p:cNvSpPr/>
          <p:nvPr/>
        </p:nvSpPr>
        <p:spPr>
          <a:xfrm>
            <a:off x="9826387" y="2695321"/>
            <a:ext cx="600501" cy="245659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649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861" y="2650194"/>
            <a:ext cx="4170559" cy="4045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8628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6</a:t>
            </a:fld>
            <a:endParaRPr lang="ru-RU" dirty="0"/>
          </a:p>
        </p:txBody>
      </p:sp>
      <p:sp>
        <p:nvSpPr>
          <p:cNvPr id="34" name="TextBox 33"/>
          <p:cNvSpPr txBox="1"/>
          <p:nvPr/>
        </p:nvSpPr>
        <p:spPr>
          <a:xfrm>
            <a:off x="192106" y="224272"/>
            <a:ext cx="10509189" cy="409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8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Серия «Функциональная Грамотность</a:t>
            </a: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. Тренажёры»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35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75029" y="6697029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rgbClr val="002060"/>
                </a:solidFill>
              </a:rPr>
              <a:t>© АО «Издательство «Просвещение» </a:t>
            </a:r>
            <a:r>
              <a:rPr lang="ru-RU" sz="700" dirty="0" smtClean="0">
                <a:solidFill>
                  <a:srgbClr val="002060"/>
                </a:solidFill>
              </a:rPr>
              <a:t>2020</a:t>
            </a:r>
            <a:endParaRPr lang="ru-RU" sz="700" dirty="0">
              <a:solidFill>
                <a:srgbClr val="002060"/>
              </a:solidFill>
            </a:endParaRPr>
          </a:p>
        </p:txBody>
      </p:sp>
      <p:pic>
        <p:nvPicPr>
          <p:cNvPr id="1054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793" y="814225"/>
            <a:ext cx="1638300" cy="31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547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5649" y="1128549"/>
            <a:ext cx="6899230" cy="2474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0" y="1172866"/>
            <a:ext cx="523095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/>
              <a:t>Вопрос 1</a:t>
            </a:r>
          </a:p>
          <a:p>
            <a:r>
              <a:rPr lang="ru-RU" dirty="0"/>
              <a:t>Ученик хочет изобразить эти данные на диаграмме. </a:t>
            </a:r>
            <a:r>
              <a:rPr lang="ru-RU" dirty="0" smtClean="0"/>
              <a:t>Приведите </a:t>
            </a:r>
            <a:r>
              <a:rPr lang="ru-RU" b="1" dirty="0" smtClean="0"/>
              <a:t>одну </a:t>
            </a:r>
            <a:r>
              <a:rPr lang="ru-RU" dirty="0"/>
              <a:t>причину, по которой диаграмма не подходит для </a:t>
            </a:r>
            <a:r>
              <a:rPr lang="ru-RU" dirty="0" smtClean="0"/>
              <a:t>отображения </a:t>
            </a:r>
            <a:r>
              <a:rPr lang="ru-RU" dirty="0"/>
              <a:t>этих данных.</a:t>
            </a:r>
          </a:p>
        </p:txBody>
      </p:sp>
      <p:sp>
        <p:nvSpPr>
          <p:cNvPr id="5" name="Овал 4"/>
          <p:cNvSpPr/>
          <p:nvPr/>
        </p:nvSpPr>
        <p:spPr>
          <a:xfrm>
            <a:off x="9826388" y="1787857"/>
            <a:ext cx="600501" cy="245659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Овал 10"/>
          <p:cNvSpPr/>
          <p:nvPr/>
        </p:nvSpPr>
        <p:spPr>
          <a:xfrm>
            <a:off x="9826387" y="2695321"/>
            <a:ext cx="600501" cy="245659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649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861" y="2650194"/>
            <a:ext cx="4170559" cy="4045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6791021" y="4991248"/>
            <a:ext cx="363586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/>
              <a:t>Ответ: </a:t>
            </a:r>
            <a:r>
              <a:rPr lang="ru-RU" dirty="0"/>
              <a:t>большой разброс значений.</a:t>
            </a:r>
          </a:p>
        </p:txBody>
      </p:sp>
    </p:spTree>
    <p:extLst>
      <p:ext uri="{BB962C8B-B14F-4D97-AF65-F5344CB8AC3E}">
        <p14:creationId xmlns:p14="http://schemas.microsoft.com/office/powerpoint/2010/main" val="2985337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34" name="TextBox 33"/>
          <p:cNvSpPr txBox="1"/>
          <p:nvPr/>
        </p:nvSpPr>
        <p:spPr>
          <a:xfrm>
            <a:off x="192106" y="224272"/>
            <a:ext cx="10509189" cy="409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8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Серия «Функциональная Грамотность</a:t>
            </a: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. Тренажёры»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35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75029" y="6697029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rgbClr val="002060"/>
                </a:solidFill>
              </a:rPr>
              <a:t>© АО «Издательство «Просвещение» </a:t>
            </a:r>
            <a:r>
              <a:rPr lang="ru-RU" sz="700" dirty="0" smtClean="0">
                <a:solidFill>
                  <a:srgbClr val="002060"/>
                </a:solidFill>
              </a:rPr>
              <a:t>2020</a:t>
            </a:r>
            <a:endParaRPr lang="ru-RU" sz="700" dirty="0">
              <a:solidFill>
                <a:srgbClr val="002060"/>
              </a:solidFill>
            </a:endParaRPr>
          </a:p>
        </p:txBody>
      </p:sp>
      <p:pic>
        <p:nvPicPr>
          <p:cNvPr id="1054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793" y="814225"/>
            <a:ext cx="1638300" cy="31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0" y="1172866"/>
            <a:ext cx="12139655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/>
              <a:t>Вопрос </a:t>
            </a:r>
            <a:r>
              <a:rPr lang="ru-RU" b="1" dirty="0" smtClean="0"/>
              <a:t>2</a:t>
            </a:r>
            <a:endParaRPr lang="ru-RU" b="1" dirty="0"/>
          </a:p>
          <a:p>
            <a:r>
              <a:rPr lang="ru-RU" dirty="0"/>
              <a:t>Для того чтобы спасти от вырубки одно дерево, требуется </a:t>
            </a:r>
            <a:r>
              <a:rPr lang="ru-RU" dirty="0" smtClean="0"/>
              <a:t>собрать и </a:t>
            </a:r>
            <a:r>
              <a:rPr lang="ru-RU" dirty="0"/>
              <a:t>сдать на переработку около 80 кг макулатуры. Эта информация</a:t>
            </a:r>
            <a:r>
              <a:rPr lang="ru-RU" dirty="0" smtClean="0"/>
              <a:t>, услышанная </a:t>
            </a:r>
            <a:r>
              <a:rPr lang="ru-RU" dirty="0"/>
              <a:t>на уроке, очень заинтересовала </a:t>
            </a:r>
            <a:r>
              <a:rPr lang="ru-RU" dirty="0" smtClean="0"/>
              <a:t>друзей-семиклассников Романа </a:t>
            </a:r>
            <a:r>
              <a:rPr lang="ru-RU" dirty="0"/>
              <a:t>и Михаила. Они придумали проект и организовали сбор </a:t>
            </a:r>
            <a:r>
              <a:rPr lang="ru-RU" dirty="0" smtClean="0"/>
              <a:t>макулатуры </a:t>
            </a:r>
            <a:r>
              <a:rPr lang="ru-RU" dirty="0"/>
              <a:t>школьниками всей области, а школам-победителям </a:t>
            </a:r>
            <a:r>
              <a:rPr lang="ru-RU" dirty="0" smtClean="0"/>
              <a:t>областной </a:t>
            </a:r>
            <a:r>
              <a:rPr lang="ru-RU" dirty="0"/>
              <a:t>филиал Российского центра защиты леса подарил </a:t>
            </a:r>
            <a:r>
              <a:rPr lang="ru-RU" dirty="0" smtClean="0"/>
              <a:t>саженцы для </a:t>
            </a:r>
            <a:r>
              <a:rPr lang="ru-RU" dirty="0"/>
              <a:t>высадки на пришкольном участке. Учащиеся школы, в которой</a:t>
            </a:r>
          </a:p>
          <a:p>
            <a:r>
              <a:rPr lang="ru-RU" dirty="0"/>
              <a:t>учатся Роман и Михаил, собрали 1,2 т макулатуры, причём </a:t>
            </a:r>
            <a:r>
              <a:rPr lang="ru-RU" dirty="0" smtClean="0"/>
              <a:t>учащиеся </a:t>
            </a:r>
            <a:r>
              <a:rPr lang="ru-RU" dirty="0"/>
              <a:t>начальной школы собрали 20 % всего количества, основной </a:t>
            </a:r>
            <a:r>
              <a:rPr lang="ru-RU" dirty="0" smtClean="0"/>
              <a:t>— 60 </a:t>
            </a:r>
            <a:r>
              <a:rPr lang="ru-RU" dirty="0"/>
              <a:t>% и старшей — 20 %. Сколько деревьев спасли учащиеся</a:t>
            </a:r>
          </a:p>
          <a:p>
            <a:r>
              <a:rPr lang="ru-RU" dirty="0"/>
              <a:t>а) начальной школы,</a:t>
            </a:r>
          </a:p>
          <a:p>
            <a:r>
              <a:rPr lang="ru-RU" dirty="0"/>
              <a:t>б) основной школы,</a:t>
            </a:r>
          </a:p>
          <a:p>
            <a:r>
              <a:rPr lang="ru-RU" dirty="0"/>
              <a:t>в) старшей школы?</a:t>
            </a:r>
          </a:p>
        </p:txBody>
      </p:sp>
    </p:spTree>
    <p:extLst>
      <p:ext uri="{BB962C8B-B14F-4D97-AF65-F5344CB8AC3E}">
        <p14:creationId xmlns:p14="http://schemas.microsoft.com/office/powerpoint/2010/main" val="226969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8</a:t>
            </a:fld>
            <a:endParaRPr lang="ru-RU" dirty="0"/>
          </a:p>
        </p:txBody>
      </p:sp>
      <p:sp>
        <p:nvSpPr>
          <p:cNvPr id="34" name="TextBox 33"/>
          <p:cNvSpPr txBox="1"/>
          <p:nvPr/>
        </p:nvSpPr>
        <p:spPr>
          <a:xfrm>
            <a:off x="192106" y="224272"/>
            <a:ext cx="10509189" cy="409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8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Серия «Функциональная Грамотность</a:t>
            </a: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. Тренажёры»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35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75029" y="6697029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rgbClr val="002060"/>
                </a:solidFill>
              </a:rPr>
              <a:t>© АО «Издательство «Просвещение» </a:t>
            </a:r>
            <a:r>
              <a:rPr lang="ru-RU" sz="700" dirty="0" smtClean="0">
                <a:solidFill>
                  <a:srgbClr val="002060"/>
                </a:solidFill>
              </a:rPr>
              <a:t>2020</a:t>
            </a:r>
            <a:endParaRPr lang="ru-RU" sz="700" dirty="0">
              <a:solidFill>
                <a:srgbClr val="002060"/>
              </a:solidFill>
            </a:endParaRPr>
          </a:p>
        </p:txBody>
      </p:sp>
      <p:pic>
        <p:nvPicPr>
          <p:cNvPr id="1054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793" y="814225"/>
            <a:ext cx="1638300" cy="31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0" y="1172866"/>
            <a:ext cx="12139655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/>
              <a:t>Вопрос </a:t>
            </a:r>
            <a:r>
              <a:rPr lang="ru-RU" b="1" dirty="0" smtClean="0"/>
              <a:t>2</a:t>
            </a:r>
            <a:endParaRPr lang="ru-RU" b="1" dirty="0"/>
          </a:p>
          <a:p>
            <a:r>
              <a:rPr lang="ru-RU" dirty="0"/>
              <a:t>Для того чтобы спасти от вырубки одно дерево, требуется </a:t>
            </a:r>
            <a:r>
              <a:rPr lang="ru-RU" dirty="0" smtClean="0"/>
              <a:t>собрать и </a:t>
            </a:r>
            <a:r>
              <a:rPr lang="ru-RU" dirty="0"/>
              <a:t>сдать на переработку около 80 кг макулатуры. Эта информация</a:t>
            </a:r>
            <a:r>
              <a:rPr lang="ru-RU" dirty="0" smtClean="0"/>
              <a:t>, услышанная </a:t>
            </a:r>
            <a:r>
              <a:rPr lang="ru-RU" dirty="0"/>
              <a:t>на уроке, очень заинтересовала </a:t>
            </a:r>
            <a:r>
              <a:rPr lang="ru-RU" dirty="0" smtClean="0"/>
              <a:t>друзей-семиклассников Романа </a:t>
            </a:r>
            <a:r>
              <a:rPr lang="ru-RU" dirty="0"/>
              <a:t>и Михаила. Они придумали проект и организовали сбор </a:t>
            </a:r>
            <a:r>
              <a:rPr lang="ru-RU" dirty="0" smtClean="0"/>
              <a:t>макулатуры </a:t>
            </a:r>
            <a:r>
              <a:rPr lang="ru-RU" dirty="0"/>
              <a:t>школьниками всей области, а школам-победителям </a:t>
            </a:r>
            <a:r>
              <a:rPr lang="ru-RU" dirty="0" smtClean="0"/>
              <a:t>областной </a:t>
            </a:r>
            <a:r>
              <a:rPr lang="ru-RU" dirty="0"/>
              <a:t>филиал Российского центра защиты леса подарил </a:t>
            </a:r>
            <a:r>
              <a:rPr lang="ru-RU" dirty="0" smtClean="0"/>
              <a:t>саженцы для </a:t>
            </a:r>
            <a:r>
              <a:rPr lang="ru-RU" dirty="0"/>
              <a:t>высадки на пришкольном участке. Учащиеся школы, в которой</a:t>
            </a:r>
          </a:p>
          <a:p>
            <a:r>
              <a:rPr lang="ru-RU" dirty="0"/>
              <a:t>учатся Роман и Михаил, собрали 1,2 т макулатуры, причём </a:t>
            </a:r>
            <a:r>
              <a:rPr lang="ru-RU" dirty="0" smtClean="0"/>
              <a:t>учащиеся </a:t>
            </a:r>
            <a:r>
              <a:rPr lang="ru-RU" dirty="0"/>
              <a:t>начальной школы собрали 20 % всего количества, основной </a:t>
            </a:r>
            <a:r>
              <a:rPr lang="ru-RU" dirty="0" smtClean="0"/>
              <a:t>— 60 </a:t>
            </a:r>
            <a:r>
              <a:rPr lang="ru-RU" dirty="0"/>
              <a:t>% и старшей — 20 %. Сколько деревьев спасли учащиеся</a:t>
            </a:r>
          </a:p>
          <a:p>
            <a:r>
              <a:rPr lang="ru-RU" dirty="0"/>
              <a:t>а) начальной школы,</a:t>
            </a:r>
          </a:p>
          <a:p>
            <a:r>
              <a:rPr lang="ru-RU" dirty="0"/>
              <a:t>б) основной школы,</a:t>
            </a:r>
          </a:p>
          <a:p>
            <a:r>
              <a:rPr lang="ru-RU" dirty="0"/>
              <a:t>в) старшей школы?</a:t>
            </a: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9430443"/>
              </p:ext>
            </p:extLst>
          </p:nvPr>
        </p:nvGraphicFramePr>
        <p:xfrm>
          <a:off x="3437719" y="3271797"/>
          <a:ext cx="3195093" cy="11125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253397"/>
                <a:gridCol w="941696"/>
              </a:tblGrid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Начальная школа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20%</a:t>
                      </a:r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Основная школа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60%</a:t>
                      </a:r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Средняя школа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20%</a:t>
                      </a:r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000425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9</a:t>
            </a:fld>
            <a:endParaRPr lang="ru-RU" dirty="0"/>
          </a:p>
        </p:txBody>
      </p:sp>
      <p:sp>
        <p:nvSpPr>
          <p:cNvPr id="34" name="TextBox 33"/>
          <p:cNvSpPr txBox="1"/>
          <p:nvPr/>
        </p:nvSpPr>
        <p:spPr>
          <a:xfrm>
            <a:off x="192106" y="224272"/>
            <a:ext cx="10509189" cy="409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8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Серия «Функциональная Грамотность</a:t>
            </a:r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. Тренажёры»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35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86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75029" y="6697029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rgbClr val="002060"/>
                </a:solidFill>
              </a:rPr>
              <a:t>© АО «Издательство «Просвещение» </a:t>
            </a:r>
            <a:r>
              <a:rPr lang="ru-RU" sz="700" dirty="0" smtClean="0">
                <a:solidFill>
                  <a:srgbClr val="002060"/>
                </a:solidFill>
              </a:rPr>
              <a:t>2020</a:t>
            </a:r>
            <a:endParaRPr lang="ru-RU" sz="700" dirty="0">
              <a:solidFill>
                <a:srgbClr val="002060"/>
              </a:solidFill>
            </a:endParaRPr>
          </a:p>
        </p:txBody>
      </p:sp>
      <p:pic>
        <p:nvPicPr>
          <p:cNvPr id="1054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793" y="814225"/>
            <a:ext cx="1638300" cy="31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0" y="1172866"/>
            <a:ext cx="12139655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/>
              <a:t>Вопрос </a:t>
            </a:r>
            <a:r>
              <a:rPr lang="ru-RU" b="1" dirty="0" smtClean="0"/>
              <a:t>2</a:t>
            </a:r>
            <a:endParaRPr lang="ru-RU" b="1" dirty="0"/>
          </a:p>
          <a:p>
            <a:r>
              <a:rPr lang="ru-RU" dirty="0"/>
              <a:t>Для того чтобы спасти от вырубки одно дерево, требуется </a:t>
            </a:r>
            <a:r>
              <a:rPr lang="ru-RU" dirty="0" smtClean="0"/>
              <a:t>собрать и </a:t>
            </a:r>
            <a:r>
              <a:rPr lang="ru-RU" dirty="0"/>
              <a:t>сдать на переработку около 80 кг макулатуры. Эта информация</a:t>
            </a:r>
            <a:r>
              <a:rPr lang="ru-RU" dirty="0" smtClean="0"/>
              <a:t>, услышанная </a:t>
            </a:r>
            <a:r>
              <a:rPr lang="ru-RU" dirty="0"/>
              <a:t>на уроке, очень заинтересовала </a:t>
            </a:r>
            <a:r>
              <a:rPr lang="ru-RU" dirty="0" smtClean="0"/>
              <a:t>друзей-семиклассников Романа </a:t>
            </a:r>
            <a:r>
              <a:rPr lang="ru-RU" dirty="0"/>
              <a:t>и Михаила. Они придумали проект и организовали сбор </a:t>
            </a:r>
            <a:r>
              <a:rPr lang="ru-RU" dirty="0" smtClean="0"/>
              <a:t>макулатуры </a:t>
            </a:r>
            <a:r>
              <a:rPr lang="ru-RU" dirty="0"/>
              <a:t>школьниками всей области, а школам-победителям </a:t>
            </a:r>
            <a:r>
              <a:rPr lang="ru-RU" dirty="0" smtClean="0"/>
              <a:t>областной </a:t>
            </a:r>
            <a:r>
              <a:rPr lang="ru-RU" dirty="0"/>
              <a:t>филиал Российского центра защиты леса подарил </a:t>
            </a:r>
            <a:r>
              <a:rPr lang="ru-RU" dirty="0" smtClean="0"/>
              <a:t>саженцы для </a:t>
            </a:r>
            <a:r>
              <a:rPr lang="ru-RU" dirty="0"/>
              <a:t>высадки на пришкольном участке. Учащиеся школы, в которой</a:t>
            </a:r>
          </a:p>
          <a:p>
            <a:r>
              <a:rPr lang="ru-RU" dirty="0"/>
              <a:t>учатся Роман и Михаил, собрали 1,2 т макулатуры, причём </a:t>
            </a:r>
            <a:r>
              <a:rPr lang="ru-RU" dirty="0" smtClean="0"/>
              <a:t>учащиеся </a:t>
            </a:r>
            <a:r>
              <a:rPr lang="ru-RU" dirty="0"/>
              <a:t>начальной школы собрали 20 % всего количества, основной </a:t>
            </a:r>
            <a:r>
              <a:rPr lang="ru-RU" dirty="0" smtClean="0"/>
              <a:t>— 60 </a:t>
            </a:r>
            <a:r>
              <a:rPr lang="ru-RU" dirty="0"/>
              <a:t>% и старшей — 20 %. Сколько деревьев спасли учащиеся</a:t>
            </a:r>
          </a:p>
          <a:p>
            <a:r>
              <a:rPr lang="ru-RU" dirty="0"/>
              <a:t>а) начальной школы,</a:t>
            </a:r>
          </a:p>
          <a:p>
            <a:r>
              <a:rPr lang="ru-RU" dirty="0"/>
              <a:t>б) основной школы,</a:t>
            </a:r>
          </a:p>
          <a:p>
            <a:r>
              <a:rPr lang="ru-RU" dirty="0"/>
              <a:t>в) старшей школы?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2" name="Таблица 1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194456472"/>
                  </p:ext>
                </p:extLst>
              </p:nvPr>
            </p:nvGraphicFramePr>
            <p:xfrm>
              <a:off x="3437719" y="3271797"/>
              <a:ext cx="5365087" cy="148336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2089624"/>
                    <a:gridCol w="791570"/>
                    <a:gridCol w="2483893"/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dirty="0" smtClean="0"/>
                            <a:t>Начальная школа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ru-RU" dirty="0" smtClean="0"/>
                            <a:t>20%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r>
                                  <a:rPr lang="ru-RU" i="1" dirty="0" smtClean="0">
                                    <a:latin typeface="Cambria Math"/>
                                  </a:rPr>
                                  <m:t>1200</m:t>
                                </m:r>
                                <m:r>
                                  <a:rPr lang="ru-RU" i="1" dirty="0" smtClean="0">
                                    <a:latin typeface="Cambria Math"/>
                                    <a:ea typeface="Cambria Math"/>
                                  </a:rPr>
                                  <m:t>∙</m:t>
                                </m:r>
                                <m:r>
                                  <a:rPr lang="ru-RU" b="0" i="1" dirty="0" smtClean="0">
                                    <a:latin typeface="Cambria Math"/>
                                    <a:ea typeface="Cambria Math"/>
                                  </a:rPr>
                                  <m:t>0,2=240 (кг)</m:t>
                                </m:r>
                              </m:oMath>
                            </m:oMathPara>
                          </a14:m>
                          <a:endParaRPr lang="ru-RU" dirty="0"/>
                        </a:p>
                      </a:txBody>
                      <a:tcPr/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dirty="0" smtClean="0"/>
                            <a:t>Основная школа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ru-RU" dirty="0" smtClean="0"/>
                            <a:t>60%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r>
                                  <a:rPr lang="ru-RU" i="1" dirty="0" smtClean="0">
                                    <a:latin typeface="Cambria Math"/>
                                  </a:rPr>
                                  <m:t>1200</m:t>
                                </m:r>
                                <m:r>
                                  <a:rPr lang="ru-RU" i="1" dirty="0" smtClean="0">
                                    <a:latin typeface="Cambria Math"/>
                                    <a:ea typeface="Cambria Math"/>
                                  </a:rPr>
                                  <m:t>∙</m:t>
                                </m:r>
                                <m:r>
                                  <a:rPr lang="ru-RU" b="0" i="1" dirty="0" smtClean="0">
                                    <a:latin typeface="Cambria Math"/>
                                    <a:ea typeface="Cambria Math"/>
                                  </a:rPr>
                                  <m:t>0,6=720 (кг)</m:t>
                                </m:r>
                              </m:oMath>
                            </m:oMathPara>
                          </a14:m>
                          <a:endParaRPr lang="ru-RU" dirty="0"/>
                        </a:p>
                      </a:txBody>
                      <a:tcPr/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dirty="0" smtClean="0"/>
                            <a:t>Средняя школа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ru-RU" dirty="0" smtClean="0"/>
                            <a:t>20%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r>
                                  <a:rPr lang="ru-RU" i="1" dirty="0" smtClean="0">
                                    <a:latin typeface="Cambria Math"/>
                                  </a:rPr>
                                  <m:t>1200</m:t>
                                </m:r>
                                <m:r>
                                  <a:rPr lang="ru-RU" i="1" dirty="0" smtClean="0">
                                    <a:latin typeface="Cambria Math"/>
                                    <a:ea typeface="Cambria Math"/>
                                  </a:rPr>
                                  <m:t>∙</m:t>
                                </m:r>
                                <m:r>
                                  <a:rPr lang="ru-RU" b="0" i="1" dirty="0" smtClean="0">
                                    <a:latin typeface="Cambria Math"/>
                                    <a:ea typeface="Cambria Math"/>
                                  </a:rPr>
                                  <m:t>0,2=240 (кг)</m:t>
                                </m:r>
                              </m:oMath>
                            </m:oMathPara>
                          </a14:m>
                          <a:endParaRPr lang="ru-RU" dirty="0"/>
                        </a:p>
                      </a:txBody>
                      <a:tcPr/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dirty="0" smtClean="0"/>
                            <a:t>Итого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ru-RU" dirty="0" smtClean="0"/>
                            <a:t>100%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ru-RU" dirty="0" smtClean="0"/>
                            <a:t>1,2 т = 1200</a:t>
                          </a:r>
                          <a:r>
                            <a:rPr lang="ru-RU" baseline="0" dirty="0" smtClean="0"/>
                            <a:t> кг</a:t>
                          </a:r>
                          <a:endParaRPr lang="ru-RU" dirty="0"/>
                        </a:p>
                      </a:txBody>
                      <a:tcPr/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2" name="Таблица 1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194456472"/>
                  </p:ext>
                </p:extLst>
              </p:nvPr>
            </p:nvGraphicFramePr>
            <p:xfrm>
              <a:off x="3437719" y="3271797"/>
              <a:ext cx="5365087" cy="148336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2089624"/>
                    <a:gridCol w="791570"/>
                    <a:gridCol w="2483893"/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dirty="0" smtClean="0"/>
                            <a:t>Начальная школа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ru-RU" dirty="0" smtClean="0"/>
                            <a:t>20%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4"/>
                          <a:stretch>
                            <a:fillRect l="-116462" t="-8197" r="-246" b="-322951"/>
                          </a:stretch>
                        </a:blipFill>
                      </a:tcPr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dirty="0" smtClean="0"/>
                            <a:t>Основная школа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ru-RU" dirty="0" smtClean="0"/>
                            <a:t>60%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4"/>
                          <a:stretch>
                            <a:fillRect l="-116462" t="-108197" r="-246" b="-222951"/>
                          </a:stretch>
                        </a:blipFill>
                      </a:tcPr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dirty="0" smtClean="0"/>
                            <a:t>Средняя школа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ru-RU" dirty="0" smtClean="0"/>
                            <a:t>20%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4"/>
                          <a:stretch>
                            <a:fillRect l="-116462" t="-211667" r="-246" b="-126667"/>
                          </a:stretch>
                        </a:blipFill>
                      </a:tcPr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dirty="0" smtClean="0"/>
                            <a:t>Итого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ru-RU" dirty="0" smtClean="0"/>
                            <a:t>100%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r>
                            <a:rPr lang="ru-RU" dirty="0" smtClean="0"/>
                            <a:t>1,2 т = 1200</a:t>
                          </a:r>
                          <a:r>
                            <a:rPr lang="ru-RU" baseline="0" dirty="0" smtClean="0"/>
                            <a:t> кг</a:t>
                          </a:r>
                          <a:endParaRPr lang="ru-RU" dirty="0"/>
                        </a:p>
                      </a:txBody>
                      <a:tcPr/>
                    </a:tc>
                  </a:tr>
                </a:tbl>
              </a:graphicData>
            </a:graphic>
          </p:graphicFrame>
        </mc:Fallback>
      </mc:AlternateContent>
      <p:cxnSp>
        <p:nvCxnSpPr>
          <p:cNvPr id="6" name="Прямая соединительная линия 5"/>
          <p:cNvCxnSpPr/>
          <p:nvPr/>
        </p:nvCxnSpPr>
        <p:spPr>
          <a:xfrm>
            <a:off x="9648967" y="1760561"/>
            <a:ext cx="1678675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3452883" y="1760561"/>
            <a:ext cx="1201004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8153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EFEFE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EFEFE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EFEFE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117</TotalTime>
  <Words>6834</Words>
  <Application>Microsoft Office PowerPoint</Application>
  <PresentationFormat>Произвольный</PresentationFormat>
  <Paragraphs>499</Paragraphs>
  <Slides>38</Slides>
  <Notes>14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8</vt:i4>
      </vt:variant>
    </vt:vector>
  </HeadingPairs>
  <TitlesOfParts>
    <vt:vector size="40" baseType="lpstr"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Komp</dc:creator>
  <cp:lastModifiedBy>Наталья</cp:lastModifiedBy>
  <cp:revision>888</cp:revision>
  <cp:lastPrinted>2019-08-02T09:06:22Z</cp:lastPrinted>
  <dcterms:created xsi:type="dcterms:W3CDTF">2018-07-24T05:59:49Z</dcterms:created>
  <dcterms:modified xsi:type="dcterms:W3CDTF">2022-01-13T07:26:51Z</dcterms:modified>
</cp:coreProperties>
</file>